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5" r:id="rId4"/>
  </p:sldMasterIdLst>
  <p:notesMasterIdLst>
    <p:notesMasterId r:id="rId16"/>
  </p:notesMasterIdLst>
  <p:sldIdLst>
    <p:sldId id="278" r:id="rId5"/>
    <p:sldId id="286" r:id="rId6"/>
    <p:sldId id="4088" r:id="rId7"/>
    <p:sldId id="806" r:id="rId8"/>
    <p:sldId id="280" r:id="rId9"/>
    <p:sldId id="281" r:id="rId10"/>
    <p:sldId id="4087" r:id="rId11"/>
    <p:sldId id="4094" r:id="rId12"/>
    <p:sldId id="289" r:id="rId13"/>
    <p:sldId id="288" r:id="rId14"/>
    <p:sldId id="290" r:id="rId15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C46A1E9-9C7B-B85E-2E94-5ECF8B8CE179}" name="Émilyse Roy" initials="ÉR" userId="S::emilyse.roy@logibec.com::8f6ade09-e65a-4f47-bb7c-db93aba6228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778D"/>
    <a:srgbClr val="9AE6DA"/>
    <a:srgbClr val="E7F7F4"/>
    <a:srgbClr val="00778C"/>
    <a:srgbClr val="E8F7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4CF3D6-73FB-CCC9-E76D-31D678F7226C}" v="147" dt="2024-03-13T12:30:17.603"/>
  </p1510:revLst>
</p1510:revInfo>
</file>

<file path=ppt/tableStyles.xml><?xml version="1.0" encoding="utf-8"?>
<a:tblStyleLst xmlns:a="http://schemas.openxmlformats.org/drawingml/2006/main" def="{5C22544A-7EE6-4342-B048-85BDC9FD1C3A}">
  <a:tblStyle styleId="{912C8C85-51F0-491E-9774-3900AFEF0FD7}" styleName="Style léger 2 - Accentuation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BDBED569-4797-4DF1-A0F4-6AAB3CD982D8}" styleName="Style léger 3 - Accentuation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16DA210-FB5B-4158-B5E0-FEB733F419BA}" styleName="Style clair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281" autoAdjust="0"/>
    <p:restoredTop sz="94660"/>
  </p:normalViewPr>
  <p:slideViewPr>
    <p:cSldViewPr snapToGrid="0">
      <p:cViewPr varScale="1">
        <p:scale>
          <a:sx n="62" d="100"/>
          <a:sy n="62" d="100"/>
        </p:scale>
        <p:origin x="896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8/10/relationships/authors" Target="authors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1.svg"/><Relationship Id="rId2" Type="http://schemas.openxmlformats.org/officeDocument/2006/relationships/image" Target="../media/image11.svg"/><Relationship Id="rId1" Type="http://schemas.openxmlformats.org/officeDocument/2006/relationships/image" Target="../media/image10.png"/><Relationship Id="rId6" Type="http://schemas.openxmlformats.org/officeDocument/2006/relationships/image" Target="../media/image15.sv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svg"/><Relationship Id="rId4" Type="http://schemas.openxmlformats.org/officeDocument/2006/relationships/image" Target="../media/image13.svg"/><Relationship Id="rId9" Type="http://schemas.openxmlformats.org/officeDocument/2006/relationships/image" Target="../media/image18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1.svg"/><Relationship Id="rId2" Type="http://schemas.openxmlformats.org/officeDocument/2006/relationships/image" Target="../media/image11.svg"/><Relationship Id="rId1" Type="http://schemas.openxmlformats.org/officeDocument/2006/relationships/image" Target="../media/image10.png"/><Relationship Id="rId6" Type="http://schemas.openxmlformats.org/officeDocument/2006/relationships/image" Target="../media/image15.sv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svg"/><Relationship Id="rId4" Type="http://schemas.openxmlformats.org/officeDocument/2006/relationships/image" Target="../media/image13.svg"/><Relationship Id="rId9" Type="http://schemas.openxmlformats.org/officeDocument/2006/relationships/image" Target="../media/image1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9F89CCD-9816-4D08-BE59-1409CA47BD3B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colorful2" csCatId="colorful" phldr="1"/>
      <dgm:spPr/>
      <dgm:t>
        <a:bodyPr/>
        <a:lstStyle/>
        <a:p>
          <a:endParaRPr lang="en-US"/>
        </a:p>
      </dgm:t>
    </dgm:pt>
    <dgm:pt modelId="{B205DDD3-E41F-4BD6-8BCE-DDD3E41A9169}">
      <dgm:prSet/>
      <dgm:spPr/>
      <dgm:t>
        <a:bodyPr/>
        <a:lstStyle/>
        <a:p>
          <a:r>
            <a:rPr lang="fr-CA"/>
            <a:t>Développer un outil de prescription électronique pour les demandes en imagerie </a:t>
          </a:r>
          <a:endParaRPr lang="en-US"/>
        </a:p>
      </dgm:t>
    </dgm:pt>
    <dgm:pt modelId="{CD2CAB24-ECC7-4A36-AC6C-71C8AB03B627}" type="parTrans" cxnId="{9F575DAA-E5CC-44A1-8CBF-F21C25E84062}">
      <dgm:prSet/>
      <dgm:spPr/>
      <dgm:t>
        <a:bodyPr/>
        <a:lstStyle/>
        <a:p>
          <a:endParaRPr lang="en-US"/>
        </a:p>
      </dgm:t>
    </dgm:pt>
    <dgm:pt modelId="{C4A5C24C-A853-42AF-8D6C-EDFDC3E20B1B}" type="sibTrans" cxnId="{9F575DAA-E5CC-44A1-8CBF-F21C25E84062}">
      <dgm:prSet/>
      <dgm:spPr/>
      <dgm:t>
        <a:bodyPr/>
        <a:lstStyle/>
        <a:p>
          <a:endParaRPr lang="en-US"/>
        </a:p>
      </dgm:t>
    </dgm:pt>
    <dgm:pt modelId="{05B9AB9E-8EC4-4732-A2E5-3ED1AB838ECD}">
      <dgm:prSet/>
      <dgm:spPr/>
      <dgm:t>
        <a:bodyPr/>
        <a:lstStyle/>
        <a:p>
          <a:r>
            <a:rPr lang="fr-CA"/>
            <a:t>Intégrer un outil d'aide à la décision</a:t>
          </a:r>
          <a:endParaRPr lang="en-US"/>
        </a:p>
      </dgm:t>
    </dgm:pt>
    <dgm:pt modelId="{2FB120B3-363B-4DB2-B213-71C7DC21E316}" type="parTrans" cxnId="{0CD50E7A-D493-4984-A28A-C60606061117}">
      <dgm:prSet/>
      <dgm:spPr/>
      <dgm:t>
        <a:bodyPr/>
        <a:lstStyle/>
        <a:p>
          <a:endParaRPr lang="en-US"/>
        </a:p>
      </dgm:t>
    </dgm:pt>
    <dgm:pt modelId="{1EC7E43D-8A72-4B19-A417-2ADF81DA352D}" type="sibTrans" cxnId="{0CD50E7A-D493-4984-A28A-C60606061117}">
      <dgm:prSet/>
      <dgm:spPr/>
      <dgm:t>
        <a:bodyPr/>
        <a:lstStyle/>
        <a:p>
          <a:endParaRPr lang="en-US"/>
        </a:p>
      </dgm:t>
    </dgm:pt>
    <dgm:pt modelId="{2A2E6093-690B-4CAB-A0E6-EC0E18BA0BEF}">
      <dgm:prSet/>
      <dgm:spPr/>
      <dgm:t>
        <a:bodyPr/>
        <a:lstStyle/>
        <a:p>
          <a:r>
            <a:rPr lang="fr-CA"/>
            <a:t>Activer et recueillir les commentaires d'utilisateurs pilotes </a:t>
          </a:r>
          <a:endParaRPr lang="en-US"/>
        </a:p>
      </dgm:t>
    </dgm:pt>
    <dgm:pt modelId="{59B7F7BC-E64D-47EA-BC6F-88AD5E71181B}" type="parTrans" cxnId="{82142B7E-3031-4659-8986-0A2B2C953E95}">
      <dgm:prSet/>
      <dgm:spPr/>
      <dgm:t>
        <a:bodyPr/>
        <a:lstStyle/>
        <a:p>
          <a:endParaRPr lang="en-US"/>
        </a:p>
      </dgm:t>
    </dgm:pt>
    <dgm:pt modelId="{7EEDA3C6-0752-47F3-9D72-2675E33F0146}" type="sibTrans" cxnId="{82142B7E-3031-4659-8986-0A2B2C953E95}">
      <dgm:prSet/>
      <dgm:spPr/>
      <dgm:t>
        <a:bodyPr/>
        <a:lstStyle/>
        <a:p>
          <a:endParaRPr lang="en-US"/>
        </a:p>
      </dgm:t>
    </dgm:pt>
    <dgm:pt modelId="{BE6738C2-1D96-42D0-B483-C0C61C83CDAD}">
      <dgm:prSet/>
      <dgm:spPr/>
      <dgm:t>
        <a:bodyPr/>
        <a:lstStyle/>
        <a:p>
          <a:r>
            <a:rPr lang="fr-CA"/>
            <a:t>Effectuer un bilan </a:t>
          </a:r>
          <a:endParaRPr lang="en-US"/>
        </a:p>
      </dgm:t>
    </dgm:pt>
    <dgm:pt modelId="{EAEFC4A8-2474-4CDD-8F32-1D8265C846C5}" type="parTrans" cxnId="{7A0FAC25-5F3A-427E-848C-C590F3311F1E}">
      <dgm:prSet/>
      <dgm:spPr/>
      <dgm:t>
        <a:bodyPr/>
        <a:lstStyle/>
        <a:p>
          <a:endParaRPr lang="en-US"/>
        </a:p>
      </dgm:t>
    </dgm:pt>
    <dgm:pt modelId="{ADBA2550-4A6E-428D-A846-9F021445D53E}" type="sibTrans" cxnId="{7A0FAC25-5F3A-427E-848C-C590F3311F1E}">
      <dgm:prSet/>
      <dgm:spPr/>
      <dgm:t>
        <a:bodyPr/>
        <a:lstStyle/>
        <a:p>
          <a:endParaRPr lang="en-US"/>
        </a:p>
      </dgm:t>
    </dgm:pt>
    <dgm:pt modelId="{DA22B611-2597-4BDE-9746-4372C8423FE4}">
      <dgm:prSet/>
      <dgm:spPr/>
      <dgm:t>
        <a:bodyPr/>
        <a:lstStyle/>
        <a:p>
          <a:pPr rtl="0"/>
          <a:r>
            <a:rPr lang="fr-CA"/>
            <a:t>Apporter ou planifier des améliorations/ajustements   </a:t>
          </a:r>
          <a:r>
            <a:rPr lang="fr-CA">
              <a:latin typeface="Calibri Light" panose="020F0302020204030204"/>
            </a:rPr>
            <a:t> </a:t>
          </a:r>
          <a:endParaRPr lang="en-US"/>
        </a:p>
      </dgm:t>
    </dgm:pt>
    <dgm:pt modelId="{B3EF4265-0DB3-4F82-A8DF-800B44D5805E}" type="parTrans" cxnId="{C2F8BEF4-ADF7-4981-8825-64B2C3AC49C8}">
      <dgm:prSet/>
      <dgm:spPr/>
      <dgm:t>
        <a:bodyPr/>
        <a:lstStyle/>
        <a:p>
          <a:endParaRPr lang="en-US"/>
        </a:p>
      </dgm:t>
    </dgm:pt>
    <dgm:pt modelId="{AB94CF8E-BA11-4FB7-A2AB-2E9EEA48D98A}" type="sibTrans" cxnId="{C2F8BEF4-ADF7-4981-8825-64B2C3AC49C8}">
      <dgm:prSet/>
      <dgm:spPr/>
      <dgm:t>
        <a:bodyPr/>
        <a:lstStyle/>
        <a:p>
          <a:endParaRPr lang="en-US"/>
        </a:p>
      </dgm:t>
    </dgm:pt>
    <dgm:pt modelId="{05BEBD0C-B0B7-4C71-A905-0FEB614BD5EA}">
      <dgm:prSet custT="1"/>
      <dgm:spPr/>
      <dgm:t>
        <a:bodyPr/>
        <a:lstStyle/>
        <a:p>
          <a:pPr rtl="0"/>
          <a:r>
            <a:rPr lang="fr-CA" sz="1900" kern="1200">
              <a:solidFill>
                <a:srgbClr val="2D2E83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/>
              <a:ea typeface="+mn-ea"/>
              <a:cs typeface="+mn-cs"/>
            </a:rPr>
            <a:t>Effectuer le déploiement élargi du prescripteur en imagerie</a:t>
          </a:r>
          <a:endParaRPr lang="en-US" sz="1900" kern="1200">
            <a:solidFill>
              <a:srgbClr val="2D2E83">
                <a:hueOff val="0"/>
                <a:satOff val="0"/>
                <a:lumOff val="0"/>
                <a:alphaOff val="0"/>
              </a:srgbClr>
            </a:solidFill>
            <a:latin typeface="Calibri" panose="020F0502020204030204"/>
            <a:ea typeface="+mn-ea"/>
            <a:cs typeface="+mn-cs"/>
          </a:endParaRPr>
        </a:p>
      </dgm:t>
    </dgm:pt>
    <dgm:pt modelId="{11446BE0-EA0F-4715-9228-000AB6D94250}" type="parTrans" cxnId="{EDD0CDF8-FC90-4C0C-9A40-356258E89A0C}">
      <dgm:prSet/>
      <dgm:spPr/>
      <dgm:t>
        <a:bodyPr/>
        <a:lstStyle/>
        <a:p>
          <a:endParaRPr lang="en-US"/>
        </a:p>
      </dgm:t>
    </dgm:pt>
    <dgm:pt modelId="{439C70C0-25EB-41EA-852A-A850972F6444}" type="sibTrans" cxnId="{EDD0CDF8-FC90-4C0C-9A40-356258E89A0C}">
      <dgm:prSet/>
      <dgm:spPr/>
      <dgm:t>
        <a:bodyPr/>
        <a:lstStyle/>
        <a:p>
          <a:endParaRPr lang="en-US"/>
        </a:p>
      </dgm:t>
    </dgm:pt>
    <dgm:pt modelId="{A420BF3C-A565-42BB-AA73-7CDC43096E35}" type="pres">
      <dgm:prSet presAssocID="{29F89CCD-9816-4D08-BE59-1409CA47BD3B}" presName="root" presStyleCnt="0">
        <dgm:presLayoutVars>
          <dgm:dir/>
          <dgm:resizeHandles val="exact"/>
        </dgm:presLayoutVars>
      </dgm:prSet>
      <dgm:spPr/>
    </dgm:pt>
    <dgm:pt modelId="{4F0DAFBC-0D0B-4155-A7A2-9339F5303645}" type="pres">
      <dgm:prSet presAssocID="{B205DDD3-E41F-4BD6-8BCE-DDD3E41A9169}" presName="compNode" presStyleCnt="0"/>
      <dgm:spPr/>
    </dgm:pt>
    <dgm:pt modelId="{90E570C3-FD1A-4C29-AA73-DC15CAF05AC2}" type="pres">
      <dgm:prSet presAssocID="{B205DDD3-E41F-4BD6-8BCE-DDD3E41A9169}" presName="bgRect" presStyleLbl="bgShp" presStyleIdx="0" presStyleCnt="6"/>
      <dgm:spPr/>
    </dgm:pt>
    <dgm:pt modelId="{C48FF1DE-EDB9-4D0B-B0E5-A9A45CCD3871}" type="pres">
      <dgm:prSet presAssocID="{B205DDD3-E41F-4BD6-8BCE-DDD3E41A9169}" presName="iconRect" presStyleLbl="node1" presStyleIdx="0" presStyleCnt="6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octeur"/>
        </a:ext>
      </dgm:extLst>
    </dgm:pt>
    <dgm:pt modelId="{53DF208E-62CC-4948-ABD3-3DFF06DF8E08}" type="pres">
      <dgm:prSet presAssocID="{B205DDD3-E41F-4BD6-8BCE-DDD3E41A9169}" presName="spaceRect" presStyleCnt="0"/>
      <dgm:spPr/>
    </dgm:pt>
    <dgm:pt modelId="{4C2A4A08-22DE-4314-8985-F7E9DA036287}" type="pres">
      <dgm:prSet presAssocID="{B205DDD3-E41F-4BD6-8BCE-DDD3E41A9169}" presName="parTx" presStyleLbl="revTx" presStyleIdx="0" presStyleCnt="6">
        <dgm:presLayoutVars>
          <dgm:chMax val="0"/>
          <dgm:chPref val="0"/>
        </dgm:presLayoutVars>
      </dgm:prSet>
      <dgm:spPr/>
    </dgm:pt>
    <dgm:pt modelId="{5C8F28E0-1381-4A02-B846-6A501B27A930}" type="pres">
      <dgm:prSet presAssocID="{C4A5C24C-A853-42AF-8D6C-EDFDC3E20B1B}" presName="sibTrans" presStyleCnt="0"/>
      <dgm:spPr/>
    </dgm:pt>
    <dgm:pt modelId="{6E002137-6DA8-4B54-A465-FF2573383E60}" type="pres">
      <dgm:prSet presAssocID="{05B9AB9E-8EC4-4732-A2E5-3ED1AB838ECD}" presName="compNode" presStyleCnt="0"/>
      <dgm:spPr/>
    </dgm:pt>
    <dgm:pt modelId="{B5AE2A15-025C-48CB-B364-BBF0A1F7475E}" type="pres">
      <dgm:prSet presAssocID="{05B9AB9E-8EC4-4732-A2E5-3ED1AB838ECD}" presName="bgRect" presStyleLbl="bgShp" presStyleIdx="1" presStyleCnt="6"/>
      <dgm:spPr/>
    </dgm:pt>
    <dgm:pt modelId="{985D44AD-069D-4F68-AD5D-D44B97A6E8CD}" type="pres">
      <dgm:prSet presAssocID="{05B9AB9E-8EC4-4732-A2E5-3ED1AB838ECD}" presName="iconRect" presStyleLbl="node1" presStyleIdx="1" presStyleCnt="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AD5AA75E-EDA1-4796-966C-609E9F2DC4ED}" type="pres">
      <dgm:prSet presAssocID="{05B9AB9E-8EC4-4732-A2E5-3ED1AB838ECD}" presName="spaceRect" presStyleCnt="0"/>
      <dgm:spPr/>
    </dgm:pt>
    <dgm:pt modelId="{0A9AB046-6915-42E0-A8E1-DA46DD4F3742}" type="pres">
      <dgm:prSet presAssocID="{05B9AB9E-8EC4-4732-A2E5-3ED1AB838ECD}" presName="parTx" presStyleLbl="revTx" presStyleIdx="1" presStyleCnt="6">
        <dgm:presLayoutVars>
          <dgm:chMax val="0"/>
          <dgm:chPref val="0"/>
        </dgm:presLayoutVars>
      </dgm:prSet>
      <dgm:spPr/>
    </dgm:pt>
    <dgm:pt modelId="{54FFEBCB-B9AD-41CD-9EB2-2C6437B9D384}" type="pres">
      <dgm:prSet presAssocID="{1EC7E43D-8A72-4B19-A417-2ADF81DA352D}" presName="sibTrans" presStyleCnt="0"/>
      <dgm:spPr/>
    </dgm:pt>
    <dgm:pt modelId="{5CA0BF1A-19D3-4CBC-A78C-38AD0346BD92}" type="pres">
      <dgm:prSet presAssocID="{2A2E6093-690B-4CAB-A0E6-EC0E18BA0BEF}" presName="compNode" presStyleCnt="0"/>
      <dgm:spPr/>
    </dgm:pt>
    <dgm:pt modelId="{5E53D0D9-C07F-411C-A4D9-8FFB8BADFE84}" type="pres">
      <dgm:prSet presAssocID="{2A2E6093-690B-4CAB-A0E6-EC0E18BA0BEF}" presName="bgRect" presStyleLbl="bgShp" presStyleIdx="2" presStyleCnt="6"/>
      <dgm:spPr/>
    </dgm:pt>
    <dgm:pt modelId="{63C40DCF-DB73-4993-80EE-FDEDEFA39512}" type="pres">
      <dgm:prSet presAssocID="{2A2E6093-690B-4CAB-A0E6-EC0E18BA0BEF}" presName="iconRect" presStyleLbl="node1" presStyleIdx="2" presStyleCnt="6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at"/>
        </a:ext>
      </dgm:extLst>
    </dgm:pt>
    <dgm:pt modelId="{1A64E2B7-9675-4020-9976-3546ECB35EB2}" type="pres">
      <dgm:prSet presAssocID="{2A2E6093-690B-4CAB-A0E6-EC0E18BA0BEF}" presName="spaceRect" presStyleCnt="0"/>
      <dgm:spPr/>
    </dgm:pt>
    <dgm:pt modelId="{FB0E9B12-FAE3-4DE6-AEBE-5B407275BF12}" type="pres">
      <dgm:prSet presAssocID="{2A2E6093-690B-4CAB-A0E6-EC0E18BA0BEF}" presName="parTx" presStyleLbl="revTx" presStyleIdx="2" presStyleCnt="6">
        <dgm:presLayoutVars>
          <dgm:chMax val="0"/>
          <dgm:chPref val="0"/>
        </dgm:presLayoutVars>
      </dgm:prSet>
      <dgm:spPr/>
    </dgm:pt>
    <dgm:pt modelId="{23589BDB-12DB-469B-A495-7EDA1027B016}" type="pres">
      <dgm:prSet presAssocID="{7EEDA3C6-0752-47F3-9D72-2675E33F0146}" presName="sibTrans" presStyleCnt="0"/>
      <dgm:spPr/>
    </dgm:pt>
    <dgm:pt modelId="{EC01CF0B-9DC0-4F72-958A-94AD32D4A3DC}" type="pres">
      <dgm:prSet presAssocID="{BE6738C2-1D96-42D0-B483-C0C61C83CDAD}" presName="compNode" presStyleCnt="0"/>
      <dgm:spPr/>
    </dgm:pt>
    <dgm:pt modelId="{C82A5EEE-BC87-40E8-9E4E-6BE11E0BCB97}" type="pres">
      <dgm:prSet presAssocID="{BE6738C2-1D96-42D0-B483-C0C61C83CDAD}" presName="bgRect" presStyleLbl="bgShp" presStyleIdx="3" presStyleCnt="6"/>
      <dgm:spPr/>
    </dgm:pt>
    <dgm:pt modelId="{ED342217-D4E7-4ED9-B2F6-4B1079912705}" type="pres">
      <dgm:prSet presAssocID="{BE6738C2-1D96-42D0-B483-C0C61C83CDAD}" presName="iconRect" presStyleLbl="node1" presStyleIdx="3" presStyleCnt="6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rame"/>
        </a:ext>
      </dgm:extLst>
    </dgm:pt>
    <dgm:pt modelId="{C0B3A197-CCB3-47A1-A3FD-68C443AD44D9}" type="pres">
      <dgm:prSet presAssocID="{BE6738C2-1D96-42D0-B483-C0C61C83CDAD}" presName="spaceRect" presStyleCnt="0"/>
      <dgm:spPr/>
    </dgm:pt>
    <dgm:pt modelId="{039B7DBB-CA72-48C0-9E9F-FC7ED018A57C}" type="pres">
      <dgm:prSet presAssocID="{BE6738C2-1D96-42D0-B483-C0C61C83CDAD}" presName="parTx" presStyleLbl="revTx" presStyleIdx="3" presStyleCnt="6">
        <dgm:presLayoutVars>
          <dgm:chMax val="0"/>
          <dgm:chPref val="0"/>
        </dgm:presLayoutVars>
      </dgm:prSet>
      <dgm:spPr/>
    </dgm:pt>
    <dgm:pt modelId="{508CE654-63F4-4936-8979-ACD60DA5717D}" type="pres">
      <dgm:prSet presAssocID="{ADBA2550-4A6E-428D-A846-9F021445D53E}" presName="sibTrans" presStyleCnt="0"/>
      <dgm:spPr/>
    </dgm:pt>
    <dgm:pt modelId="{6F47632F-4271-4E8C-93F7-61AAD802D323}" type="pres">
      <dgm:prSet presAssocID="{DA22B611-2597-4BDE-9746-4372C8423FE4}" presName="compNode" presStyleCnt="0"/>
      <dgm:spPr/>
    </dgm:pt>
    <dgm:pt modelId="{3F573B4E-E463-4318-AC9B-86F935194DCC}" type="pres">
      <dgm:prSet presAssocID="{DA22B611-2597-4BDE-9746-4372C8423FE4}" presName="bgRect" presStyleLbl="bgShp" presStyleIdx="4" presStyleCnt="6"/>
      <dgm:spPr/>
    </dgm:pt>
    <dgm:pt modelId="{8AA72BCB-5118-4935-882B-8827FB039FC8}" type="pres">
      <dgm:prSet presAssocID="{DA22B611-2597-4BDE-9746-4372C8423FE4}" presName="iconRect" presStyleLbl="node1" presStyleIdx="4" presStyleCnt="6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oche"/>
        </a:ext>
      </dgm:extLst>
    </dgm:pt>
    <dgm:pt modelId="{A7F39B86-58BD-414E-A883-506A8C076EC0}" type="pres">
      <dgm:prSet presAssocID="{DA22B611-2597-4BDE-9746-4372C8423FE4}" presName="spaceRect" presStyleCnt="0"/>
      <dgm:spPr/>
    </dgm:pt>
    <dgm:pt modelId="{B74A5832-D5FC-4F8C-9890-3FDAA135DF16}" type="pres">
      <dgm:prSet presAssocID="{DA22B611-2597-4BDE-9746-4372C8423FE4}" presName="parTx" presStyleLbl="revTx" presStyleIdx="4" presStyleCnt="6">
        <dgm:presLayoutVars>
          <dgm:chMax val="0"/>
          <dgm:chPref val="0"/>
        </dgm:presLayoutVars>
      </dgm:prSet>
      <dgm:spPr/>
    </dgm:pt>
    <dgm:pt modelId="{25220E9B-83CD-4EAE-A6B8-84BDC3AF85B3}" type="pres">
      <dgm:prSet presAssocID="{AB94CF8E-BA11-4FB7-A2AB-2E9EEA48D98A}" presName="sibTrans" presStyleCnt="0"/>
      <dgm:spPr/>
    </dgm:pt>
    <dgm:pt modelId="{BA0C22AE-A8C2-4A80-8A91-0BDB7517BA39}" type="pres">
      <dgm:prSet presAssocID="{05BEBD0C-B0B7-4C71-A905-0FEB614BD5EA}" presName="compNode" presStyleCnt="0"/>
      <dgm:spPr/>
    </dgm:pt>
    <dgm:pt modelId="{BDA3A721-30D8-4529-B1DA-EF84071AEE3C}" type="pres">
      <dgm:prSet presAssocID="{05BEBD0C-B0B7-4C71-A905-0FEB614BD5EA}" presName="bgRect" presStyleLbl="bgShp" presStyleIdx="5" presStyleCnt="6"/>
      <dgm:spPr/>
    </dgm:pt>
    <dgm:pt modelId="{6F308315-DC1E-4260-B88C-978394B7EE3D}" type="pres">
      <dgm:prSet presAssocID="{05BEBD0C-B0B7-4C71-A905-0FEB614BD5EA}" presName="iconRect" presStyleLbl="node1" presStyleIdx="5" presStyleCnt="6"/>
      <dgm:spPr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Network Diagram"/>
        </a:ext>
      </dgm:extLst>
    </dgm:pt>
    <dgm:pt modelId="{E16CFF82-B6EA-4402-8909-0DE71A8AACD5}" type="pres">
      <dgm:prSet presAssocID="{05BEBD0C-B0B7-4C71-A905-0FEB614BD5EA}" presName="spaceRect" presStyleCnt="0"/>
      <dgm:spPr/>
    </dgm:pt>
    <dgm:pt modelId="{6218F251-0D44-443D-B319-4C6BD46A9561}" type="pres">
      <dgm:prSet presAssocID="{05BEBD0C-B0B7-4C71-A905-0FEB614BD5EA}" presName="parTx" presStyleLbl="revTx" presStyleIdx="5" presStyleCnt="6">
        <dgm:presLayoutVars>
          <dgm:chMax val="0"/>
          <dgm:chPref val="0"/>
        </dgm:presLayoutVars>
      </dgm:prSet>
      <dgm:spPr/>
    </dgm:pt>
  </dgm:ptLst>
  <dgm:cxnLst>
    <dgm:cxn modelId="{7A0FAC25-5F3A-427E-848C-C590F3311F1E}" srcId="{29F89CCD-9816-4D08-BE59-1409CA47BD3B}" destId="{BE6738C2-1D96-42D0-B483-C0C61C83CDAD}" srcOrd="3" destOrd="0" parTransId="{EAEFC4A8-2474-4CDD-8F32-1D8265C846C5}" sibTransId="{ADBA2550-4A6E-428D-A846-9F021445D53E}"/>
    <dgm:cxn modelId="{8679E334-1C76-4178-A15D-62D9718E286B}" type="presOf" srcId="{05B9AB9E-8EC4-4732-A2E5-3ED1AB838ECD}" destId="{0A9AB046-6915-42E0-A8E1-DA46DD4F3742}" srcOrd="0" destOrd="0" presId="urn:microsoft.com/office/officeart/2018/2/layout/IconVerticalSolidList"/>
    <dgm:cxn modelId="{7E0E413C-056C-4A60-B4B2-BF3DD590C908}" type="presOf" srcId="{BE6738C2-1D96-42D0-B483-C0C61C83CDAD}" destId="{039B7DBB-CA72-48C0-9E9F-FC7ED018A57C}" srcOrd="0" destOrd="0" presId="urn:microsoft.com/office/officeart/2018/2/layout/IconVerticalSolidList"/>
    <dgm:cxn modelId="{CD649C6A-888F-4438-830D-6F1CE75C4F04}" type="presOf" srcId="{DA22B611-2597-4BDE-9746-4372C8423FE4}" destId="{B74A5832-D5FC-4F8C-9890-3FDAA135DF16}" srcOrd="0" destOrd="0" presId="urn:microsoft.com/office/officeart/2018/2/layout/IconVerticalSolidList"/>
    <dgm:cxn modelId="{0CD50E7A-D493-4984-A28A-C60606061117}" srcId="{29F89CCD-9816-4D08-BE59-1409CA47BD3B}" destId="{05B9AB9E-8EC4-4732-A2E5-3ED1AB838ECD}" srcOrd="1" destOrd="0" parTransId="{2FB120B3-363B-4DB2-B213-71C7DC21E316}" sibTransId="{1EC7E43D-8A72-4B19-A417-2ADF81DA352D}"/>
    <dgm:cxn modelId="{82142B7E-3031-4659-8986-0A2B2C953E95}" srcId="{29F89CCD-9816-4D08-BE59-1409CA47BD3B}" destId="{2A2E6093-690B-4CAB-A0E6-EC0E18BA0BEF}" srcOrd="2" destOrd="0" parTransId="{59B7F7BC-E64D-47EA-BC6F-88AD5E71181B}" sibTransId="{7EEDA3C6-0752-47F3-9D72-2675E33F0146}"/>
    <dgm:cxn modelId="{A6FCCCA1-1794-4C5C-AA18-4640D8265E35}" type="presOf" srcId="{05BEBD0C-B0B7-4C71-A905-0FEB614BD5EA}" destId="{6218F251-0D44-443D-B319-4C6BD46A9561}" srcOrd="0" destOrd="0" presId="urn:microsoft.com/office/officeart/2018/2/layout/IconVerticalSolidList"/>
    <dgm:cxn modelId="{A502B0A3-1E45-4265-8A2E-8102A6075A5F}" type="presOf" srcId="{2A2E6093-690B-4CAB-A0E6-EC0E18BA0BEF}" destId="{FB0E9B12-FAE3-4DE6-AEBE-5B407275BF12}" srcOrd="0" destOrd="0" presId="urn:microsoft.com/office/officeart/2018/2/layout/IconVerticalSolidList"/>
    <dgm:cxn modelId="{9F575DAA-E5CC-44A1-8CBF-F21C25E84062}" srcId="{29F89CCD-9816-4D08-BE59-1409CA47BD3B}" destId="{B205DDD3-E41F-4BD6-8BCE-DDD3E41A9169}" srcOrd="0" destOrd="0" parTransId="{CD2CAB24-ECC7-4A36-AC6C-71C8AB03B627}" sibTransId="{C4A5C24C-A853-42AF-8D6C-EDFDC3E20B1B}"/>
    <dgm:cxn modelId="{37AAB2B4-59E5-45D6-B5BD-5199C81F8345}" type="presOf" srcId="{29F89CCD-9816-4D08-BE59-1409CA47BD3B}" destId="{A420BF3C-A565-42BB-AA73-7CDC43096E35}" srcOrd="0" destOrd="0" presId="urn:microsoft.com/office/officeart/2018/2/layout/IconVerticalSolidList"/>
    <dgm:cxn modelId="{0B043FEB-EEA1-4931-ABF2-682471CBECE0}" type="presOf" srcId="{B205DDD3-E41F-4BD6-8BCE-DDD3E41A9169}" destId="{4C2A4A08-22DE-4314-8985-F7E9DA036287}" srcOrd="0" destOrd="0" presId="urn:microsoft.com/office/officeart/2018/2/layout/IconVerticalSolidList"/>
    <dgm:cxn modelId="{C2F8BEF4-ADF7-4981-8825-64B2C3AC49C8}" srcId="{29F89CCD-9816-4D08-BE59-1409CA47BD3B}" destId="{DA22B611-2597-4BDE-9746-4372C8423FE4}" srcOrd="4" destOrd="0" parTransId="{B3EF4265-0DB3-4F82-A8DF-800B44D5805E}" sibTransId="{AB94CF8E-BA11-4FB7-A2AB-2E9EEA48D98A}"/>
    <dgm:cxn modelId="{EDD0CDF8-FC90-4C0C-9A40-356258E89A0C}" srcId="{29F89CCD-9816-4D08-BE59-1409CA47BD3B}" destId="{05BEBD0C-B0B7-4C71-A905-0FEB614BD5EA}" srcOrd="5" destOrd="0" parTransId="{11446BE0-EA0F-4715-9228-000AB6D94250}" sibTransId="{439C70C0-25EB-41EA-852A-A850972F6444}"/>
    <dgm:cxn modelId="{B9DD67F8-62E9-47BD-943A-9F1BD08F65C8}" type="presParOf" srcId="{A420BF3C-A565-42BB-AA73-7CDC43096E35}" destId="{4F0DAFBC-0D0B-4155-A7A2-9339F5303645}" srcOrd="0" destOrd="0" presId="urn:microsoft.com/office/officeart/2018/2/layout/IconVerticalSolidList"/>
    <dgm:cxn modelId="{2C380AA7-3EA9-4F83-B285-31C6BE2B0EE6}" type="presParOf" srcId="{4F0DAFBC-0D0B-4155-A7A2-9339F5303645}" destId="{90E570C3-FD1A-4C29-AA73-DC15CAF05AC2}" srcOrd="0" destOrd="0" presId="urn:microsoft.com/office/officeart/2018/2/layout/IconVerticalSolidList"/>
    <dgm:cxn modelId="{BF7B19F9-5745-4CBE-A488-C37F36E9EC10}" type="presParOf" srcId="{4F0DAFBC-0D0B-4155-A7A2-9339F5303645}" destId="{C48FF1DE-EDB9-4D0B-B0E5-A9A45CCD3871}" srcOrd="1" destOrd="0" presId="urn:microsoft.com/office/officeart/2018/2/layout/IconVerticalSolidList"/>
    <dgm:cxn modelId="{3D9BD30A-BB62-4233-BE7A-36AD345EABD8}" type="presParOf" srcId="{4F0DAFBC-0D0B-4155-A7A2-9339F5303645}" destId="{53DF208E-62CC-4948-ABD3-3DFF06DF8E08}" srcOrd="2" destOrd="0" presId="urn:microsoft.com/office/officeart/2018/2/layout/IconVerticalSolidList"/>
    <dgm:cxn modelId="{6F2439FE-ADCB-4BE6-86D7-124E29ACB64B}" type="presParOf" srcId="{4F0DAFBC-0D0B-4155-A7A2-9339F5303645}" destId="{4C2A4A08-22DE-4314-8985-F7E9DA036287}" srcOrd="3" destOrd="0" presId="urn:microsoft.com/office/officeart/2018/2/layout/IconVerticalSolidList"/>
    <dgm:cxn modelId="{27A7C2B7-1B44-46DE-96B6-2EA2635E9B6B}" type="presParOf" srcId="{A420BF3C-A565-42BB-AA73-7CDC43096E35}" destId="{5C8F28E0-1381-4A02-B846-6A501B27A930}" srcOrd="1" destOrd="0" presId="urn:microsoft.com/office/officeart/2018/2/layout/IconVerticalSolidList"/>
    <dgm:cxn modelId="{CA966531-1887-4C0F-ADD4-E7F50A95AE80}" type="presParOf" srcId="{A420BF3C-A565-42BB-AA73-7CDC43096E35}" destId="{6E002137-6DA8-4B54-A465-FF2573383E60}" srcOrd="2" destOrd="0" presId="urn:microsoft.com/office/officeart/2018/2/layout/IconVerticalSolidList"/>
    <dgm:cxn modelId="{3E35F994-253C-4DCA-9ABC-03241C7DA0E1}" type="presParOf" srcId="{6E002137-6DA8-4B54-A465-FF2573383E60}" destId="{B5AE2A15-025C-48CB-B364-BBF0A1F7475E}" srcOrd="0" destOrd="0" presId="urn:microsoft.com/office/officeart/2018/2/layout/IconVerticalSolidList"/>
    <dgm:cxn modelId="{B7266178-E915-40C0-861F-4D67C6DA7EAE}" type="presParOf" srcId="{6E002137-6DA8-4B54-A465-FF2573383E60}" destId="{985D44AD-069D-4F68-AD5D-D44B97A6E8CD}" srcOrd="1" destOrd="0" presId="urn:microsoft.com/office/officeart/2018/2/layout/IconVerticalSolidList"/>
    <dgm:cxn modelId="{ADA57008-23D9-4064-B8A2-F39A9E1E7524}" type="presParOf" srcId="{6E002137-6DA8-4B54-A465-FF2573383E60}" destId="{AD5AA75E-EDA1-4796-966C-609E9F2DC4ED}" srcOrd="2" destOrd="0" presId="urn:microsoft.com/office/officeart/2018/2/layout/IconVerticalSolidList"/>
    <dgm:cxn modelId="{EFE2C88F-A6EA-4AB9-8BBB-4AD20B0EE523}" type="presParOf" srcId="{6E002137-6DA8-4B54-A465-FF2573383E60}" destId="{0A9AB046-6915-42E0-A8E1-DA46DD4F3742}" srcOrd="3" destOrd="0" presId="urn:microsoft.com/office/officeart/2018/2/layout/IconVerticalSolidList"/>
    <dgm:cxn modelId="{3B914C52-BFA2-4070-A94B-5574118E6EEF}" type="presParOf" srcId="{A420BF3C-A565-42BB-AA73-7CDC43096E35}" destId="{54FFEBCB-B9AD-41CD-9EB2-2C6437B9D384}" srcOrd="3" destOrd="0" presId="urn:microsoft.com/office/officeart/2018/2/layout/IconVerticalSolidList"/>
    <dgm:cxn modelId="{B4445685-943A-41A6-B3DA-00FF67B28CCA}" type="presParOf" srcId="{A420BF3C-A565-42BB-AA73-7CDC43096E35}" destId="{5CA0BF1A-19D3-4CBC-A78C-38AD0346BD92}" srcOrd="4" destOrd="0" presId="urn:microsoft.com/office/officeart/2018/2/layout/IconVerticalSolidList"/>
    <dgm:cxn modelId="{FAEA6808-57F8-4533-A1C9-B9AC518F7195}" type="presParOf" srcId="{5CA0BF1A-19D3-4CBC-A78C-38AD0346BD92}" destId="{5E53D0D9-C07F-411C-A4D9-8FFB8BADFE84}" srcOrd="0" destOrd="0" presId="urn:microsoft.com/office/officeart/2018/2/layout/IconVerticalSolidList"/>
    <dgm:cxn modelId="{9D7DA08A-6CE7-4517-A17C-3EE198FD9B02}" type="presParOf" srcId="{5CA0BF1A-19D3-4CBC-A78C-38AD0346BD92}" destId="{63C40DCF-DB73-4993-80EE-FDEDEFA39512}" srcOrd="1" destOrd="0" presId="urn:microsoft.com/office/officeart/2018/2/layout/IconVerticalSolidList"/>
    <dgm:cxn modelId="{EC2979D3-DA08-40D0-940D-3EF82D437BEB}" type="presParOf" srcId="{5CA0BF1A-19D3-4CBC-A78C-38AD0346BD92}" destId="{1A64E2B7-9675-4020-9976-3546ECB35EB2}" srcOrd="2" destOrd="0" presId="urn:microsoft.com/office/officeart/2018/2/layout/IconVerticalSolidList"/>
    <dgm:cxn modelId="{B555C214-1AD1-42BA-AD1E-3A6FF1D8258E}" type="presParOf" srcId="{5CA0BF1A-19D3-4CBC-A78C-38AD0346BD92}" destId="{FB0E9B12-FAE3-4DE6-AEBE-5B407275BF12}" srcOrd="3" destOrd="0" presId="urn:microsoft.com/office/officeart/2018/2/layout/IconVerticalSolidList"/>
    <dgm:cxn modelId="{30C97EDA-AA1D-489E-BB96-FBE70F1B7169}" type="presParOf" srcId="{A420BF3C-A565-42BB-AA73-7CDC43096E35}" destId="{23589BDB-12DB-469B-A495-7EDA1027B016}" srcOrd="5" destOrd="0" presId="urn:microsoft.com/office/officeart/2018/2/layout/IconVerticalSolidList"/>
    <dgm:cxn modelId="{10BAC1F9-DF15-4B7C-9E5A-A688AC311F31}" type="presParOf" srcId="{A420BF3C-A565-42BB-AA73-7CDC43096E35}" destId="{EC01CF0B-9DC0-4F72-958A-94AD32D4A3DC}" srcOrd="6" destOrd="0" presId="urn:microsoft.com/office/officeart/2018/2/layout/IconVerticalSolidList"/>
    <dgm:cxn modelId="{AF4C263C-B693-4531-901D-C14E578A8B60}" type="presParOf" srcId="{EC01CF0B-9DC0-4F72-958A-94AD32D4A3DC}" destId="{C82A5EEE-BC87-40E8-9E4E-6BE11E0BCB97}" srcOrd="0" destOrd="0" presId="urn:microsoft.com/office/officeart/2018/2/layout/IconVerticalSolidList"/>
    <dgm:cxn modelId="{94E910DF-D9D7-49A2-BE8B-809ED3F64820}" type="presParOf" srcId="{EC01CF0B-9DC0-4F72-958A-94AD32D4A3DC}" destId="{ED342217-D4E7-4ED9-B2F6-4B1079912705}" srcOrd="1" destOrd="0" presId="urn:microsoft.com/office/officeart/2018/2/layout/IconVerticalSolidList"/>
    <dgm:cxn modelId="{193766A9-3037-4162-8838-0D90D70386E0}" type="presParOf" srcId="{EC01CF0B-9DC0-4F72-958A-94AD32D4A3DC}" destId="{C0B3A197-CCB3-47A1-A3FD-68C443AD44D9}" srcOrd="2" destOrd="0" presId="urn:microsoft.com/office/officeart/2018/2/layout/IconVerticalSolidList"/>
    <dgm:cxn modelId="{5A9F8B1D-FDBA-4FE2-9748-3171DE19783E}" type="presParOf" srcId="{EC01CF0B-9DC0-4F72-958A-94AD32D4A3DC}" destId="{039B7DBB-CA72-48C0-9E9F-FC7ED018A57C}" srcOrd="3" destOrd="0" presId="urn:microsoft.com/office/officeart/2018/2/layout/IconVerticalSolidList"/>
    <dgm:cxn modelId="{3FA80C6E-7DE0-47CE-ADDC-23EDC463678C}" type="presParOf" srcId="{A420BF3C-A565-42BB-AA73-7CDC43096E35}" destId="{508CE654-63F4-4936-8979-ACD60DA5717D}" srcOrd="7" destOrd="0" presId="urn:microsoft.com/office/officeart/2018/2/layout/IconVerticalSolidList"/>
    <dgm:cxn modelId="{ADFE5523-7529-47E1-A6BD-EE6C9F8B2712}" type="presParOf" srcId="{A420BF3C-A565-42BB-AA73-7CDC43096E35}" destId="{6F47632F-4271-4E8C-93F7-61AAD802D323}" srcOrd="8" destOrd="0" presId="urn:microsoft.com/office/officeart/2018/2/layout/IconVerticalSolidList"/>
    <dgm:cxn modelId="{84BE409C-008F-4818-A453-8E09127E3FB6}" type="presParOf" srcId="{6F47632F-4271-4E8C-93F7-61AAD802D323}" destId="{3F573B4E-E463-4318-AC9B-86F935194DCC}" srcOrd="0" destOrd="0" presId="urn:microsoft.com/office/officeart/2018/2/layout/IconVerticalSolidList"/>
    <dgm:cxn modelId="{8FC0E4B1-65AA-452B-A726-8384AF98D2E7}" type="presParOf" srcId="{6F47632F-4271-4E8C-93F7-61AAD802D323}" destId="{8AA72BCB-5118-4935-882B-8827FB039FC8}" srcOrd="1" destOrd="0" presId="urn:microsoft.com/office/officeart/2018/2/layout/IconVerticalSolidList"/>
    <dgm:cxn modelId="{C4ED52BD-C9EC-4E3B-A692-5AACB3834C2E}" type="presParOf" srcId="{6F47632F-4271-4E8C-93F7-61AAD802D323}" destId="{A7F39B86-58BD-414E-A883-506A8C076EC0}" srcOrd="2" destOrd="0" presId="urn:microsoft.com/office/officeart/2018/2/layout/IconVerticalSolidList"/>
    <dgm:cxn modelId="{522EAD6D-7F55-4175-9B77-4EE4A1A1D6D0}" type="presParOf" srcId="{6F47632F-4271-4E8C-93F7-61AAD802D323}" destId="{B74A5832-D5FC-4F8C-9890-3FDAA135DF16}" srcOrd="3" destOrd="0" presId="urn:microsoft.com/office/officeart/2018/2/layout/IconVerticalSolidList"/>
    <dgm:cxn modelId="{FECCD77E-57F9-4DBD-985D-6A7C6D34EA5B}" type="presParOf" srcId="{A420BF3C-A565-42BB-AA73-7CDC43096E35}" destId="{25220E9B-83CD-4EAE-A6B8-84BDC3AF85B3}" srcOrd="9" destOrd="0" presId="urn:microsoft.com/office/officeart/2018/2/layout/IconVerticalSolidList"/>
    <dgm:cxn modelId="{69249659-789E-493D-A75B-26CE06B9635B}" type="presParOf" srcId="{A420BF3C-A565-42BB-AA73-7CDC43096E35}" destId="{BA0C22AE-A8C2-4A80-8A91-0BDB7517BA39}" srcOrd="10" destOrd="0" presId="urn:microsoft.com/office/officeart/2018/2/layout/IconVerticalSolidList"/>
    <dgm:cxn modelId="{67D27BF7-3914-4E63-BC7B-A02072859E66}" type="presParOf" srcId="{BA0C22AE-A8C2-4A80-8A91-0BDB7517BA39}" destId="{BDA3A721-30D8-4529-B1DA-EF84071AEE3C}" srcOrd="0" destOrd="0" presId="urn:microsoft.com/office/officeart/2018/2/layout/IconVerticalSolidList"/>
    <dgm:cxn modelId="{9B698D29-DEEA-47AE-942F-A3B56DE6816F}" type="presParOf" srcId="{BA0C22AE-A8C2-4A80-8A91-0BDB7517BA39}" destId="{6F308315-DC1E-4260-B88C-978394B7EE3D}" srcOrd="1" destOrd="0" presId="urn:microsoft.com/office/officeart/2018/2/layout/IconVerticalSolidList"/>
    <dgm:cxn modelId="{3F9927BF-F14A-4172-B501-6AA12317CC91}" type="presParOf" srcId="{BA0C22AE-A8C2-4A80-8A91-0BDB7517BA39}" destId="{E16CFF82-B6EA-4402-8909-0DE71A8AACD5}" srcOrd="2" destOrd="0" presId="urn:microsoft.com/office/officeart/2018/2/layout/IconVerticalSolidList"/>
    <dgm:cxn modelId="{5D834726-EB4E-4891-B524-C2D3EC462631}" type="presParOf" srcId="{BA0C22AE-A8C2-4A80-8A91-0BDB7517BA39}" destId="{6218F251-0D44-443D-B319-4C6BD46A9561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0E570C3-FD1A-4C29-AA73-DC15CAF05AC2}">
      <dsp:nvSpPr>
        <dsp:cNvPr id="0" name=""/>
        <dsp:cNvSpPr/>
      </dsp:nvSpPr>
      <dsp:spPr>
        <a:xfrm>
          <a:off x="0" y="1817"/>
          <a:ext cx="5849557" cy="774464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48FF1DE-EDB9-4D0B-B0E5-A9A45CCD3871}">
      <dsp:nvSpPr>
        <dsp:cNvPr id="0" name=""/>
        <dsp:cNvSpPr/>
      </dsp:nvSpPr>
      <dsp:spPr>
        <a:xfrm>
          <a:off x="234275" y="176071"/>
          <a:ext cx="425955" cy="425955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C2A4A08-22DE-4314-8985-F7E9DA036287}">
      <dsp:nvSpPr>
        <dsp:cNvPr id="0" name=""/>
        <dsp:cNvSpPr/>
      </dsp:nvSpPr>
      <dsp:spPr>
        <a:xfrm>
          <a:off x="894506" y="1817"/>
          <a:ext cx="4955050" cy="7744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1964" tIns="81964" rIns="81964" bIns="81964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900" kern="1200"/>
            <a:t>Développer un outil de prescription électronique pour les demandes en imagerie </a:t>
          </a:r>
          <a:endParaRPr lang="en-US" sz="1900" kern="1200"/>
        </a:p>
      </dsp:txBody>
      <dsp:txXfrm>
        <a:off x="894506" y="1817"/>
        <a:ext cx="4955050" cy="774464"/>
      </dsp:txXfrm>
    </dsp:sp>
    <dsp:sp modelId="{B5AE2A15-025C-48CB-B364-BBF0A1F7475E}">
      <dsp:nvSpPr>
        <dsp:cNvPr id="0" name=""/>
        <dsp:cNvSpPr/>
      </dsp:nvSpPr>
      <dsp:spPr>
        <a:xfrm>
          <a:off x="0" y="969897"/>
          <a:ext cx="5849557" cy="774464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85D44AD-069D-4F68-AD5D-D44B97A6E8CD}">
      <dsp:nvSpPr>
        <dsp:cNvPr id="0" name=""/>
        <dsp:cNvSpPr/>
      </dsp:nvSpPr>
      <dsp:spPr>
        <a:xfrm>
          <a:off x="234275" y="1144152"/>
          <a:ext cx="425955" cy="425955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A9AB046-6915-42E0-A8E1-DA46DD4F3742}">
      <dsp:nvSpPr>
        <dsp:cNvPr id="0" name=""/>
        <dsp:cNvSpPr/>
      </dsp:nvSpPr>
      <dsp:spPr>
        <a:xfrm>
          <a:off x="894506" y="969897"/>
          <a:ext cx="4955050" cy="7744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1964" tIns="81964" rIns="81964" bIns="81964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900" kern="1200"/>
            <a:t>Intégrer un outil d'aide à la décision</a:t>
          </a:r>
          <a:endParaRPr lang="en-US" sz="1900" kern="1200"/>
        </a:p>
      </dsp:txBody>
      <dsp:txXfrm>
        <a:off x="894506" y="969897"/>
        <a:ext cx="4955050" cy="774464"/>
      </dsp:txXfrm>
    </dsp:sp>
    <dsp:sp modelId="{5E53D0D9-C07F-411C-A4D9-8FFB8BADFE84}">
      <dsp:nvSpPr>
        <dsp:cNvPr id="0" name=""/>
        <dsp:cNvSpPr/>
      </dsp:nvSpPr>
      <dsp:spPr>
        <a:xfrm>
          <a:off x="0" y="1937978"/>
          <a:ext cx="5849557" cy="774464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3C40DCF-DB73-4993-80EE-FDEDEFA39512}">
      <dsp:nvSpPr>
        <dsp:cNvPr id="0" name=""/>
        <dsp:cNvSpPr/>
      </dsp:nvSpPr>
      <dsp:spPr>
        <a:xfrm>
          <a:off x="234275" y="2112232"/>
          <a:ext cx="425955" cy="425955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B0E9B12-FAE3-4DE6-AEBE-5B407275BF12}">
      <dsp:nvSpPr>
        <dsp:cNvPr id="0" name=""/>
        <dsp:cNvSpPr/>
      </dsp:nvSpPr>
      <dsp:spPr>
        <a:xfrm>
          <a:off x="894506" y="1937978"/>
          <a:ext cx="4955050" cy="7744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1964" tIns="81964" rIns="81964" bIns="81964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900" kern="1200"/>
            <a:t>Activer et recueillir les commentaires d'utilisateurs pilotes </a:t>
          </a:r>
          <a:endParaRPr lang="en-US" sz="1900" kern="1200"/>
        </a:p>
      </dsp:txBody>
      <dsp:txXfrm>
        <a:off x="894506" y="1937978"/>
        <a:ext cx="4955050" cy="774464"/>
      </dsp:txXfrm>
    </dsp:sp>
    <dsp:sp modelId="{C82A5EEE-BC87-40E8-9E4E-6BE11E0BCB97}">
      <dsp:nvSpPr>
        <dsp:cNvPr id="0" name=""/>
        <dsp:cNvSpPr/>
      </dsp:nvSpPr>
      <dsp:spPr>
        <a:xfrm>
          <a:off x="0" y="2906058"/>
          <a:ext cx="5849557" cy="774464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D342217-D4E7-4ED9-B2F6-4B1079912705}">
      <dsp:nvSpPr>
        <dsp:cNvPr id="0" name=""/>
        <dsp:cNvSpPr/>
      </dsp:nvSpPr>
      <dsp:spPr>
        <a:xfrm>
          <a:off x="234275" y="3080312"/>
          <a:ext cx="425955" cy="425955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9B7DBB-CA72-48C0-9E9F-FC7ED018A57C}">
      <dsp:nvSpPr>
        <dsp:cNvPr id="0" name=""/>
        <dsp:cNvSpPr/>
      </dsp:nvSpPr>
      <dsp:spPr>
        <a:xfrm>
          <a:off x="894506" y="2906058"/>
          <a:ext cx="4955050" cy="7744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1964" tIns="81964" rIns="81964" bIns="81964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900" kern="1200"/>
            <a:t>Effectuer un bilan </a:t>
          </a:r>
          <a:endParaRPr lang="en-US" sz="1900" kern="1200"/>
        </a:p>
      </dsp:txBody>
      <dsp:txXfrm>
        <a:off x="894506" y="2906058"/>
        <a:ext cx="4955050" cy="774464"/>
      </dsp:txXfrm>
    </dsp:sp>
    <dsp:sp modelId="{3F573B4E-E463-4318-AC9B-86F935194DCC}">
      <dsp:nvSpPr>
        <dsp:cNvPr id="0" name=""/>
        <dsp:cNvSpPr/>
      </dsp:nvSpPr>
      <dsp:spPr>
        <a:xfrm>
          <a:off x="0" y="3874138"/>
          <a:ext cx="5849557" cy="774464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A72BCB-5118-4935-882B-8827FB039FC8}">
      <dsp:nvSpPr>
        <dsp:cNvPr id="0" name=""/>
        <dsp:cNvSpPr/>
      </dsp:nvSpPr>
      <dsp:spPr>
        <a:xfrm>
          <a:off x="234275" y="4048393"/>
          <a:ext cx="425955" cy="425955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74A5832-D5FC-4F8C-9890-3FDAA135DF16}">
      <dsp:nvSpPr>
        <dsp:cNvPr id="0" name=""/>
        <dsp:cNvSpPr/>
      </dsp:nvSpPr>
      <dsp:spPr>
        <a:xfrm>
          <a:off x="894506" y="3874138"/>
          <a:ext cx="4955050" cy="7744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1964" tIns="81964" rIns="81964" bIns="81964" numCol="1" spcCol="1270" anchor="ctr" anchorCtr="0">
          <a:noAutofit/>
        </a:bodyPr>
        <a:lstStyle/>
        <a:p>
          <a:pPr marL="0" lvl="0" indent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900" kern="1200"/>
            <a:t>Apporter ou planifier des améliorations/ajustements   </a:t>
          </a:r>
          <a:r>
            <a:rPr lang="fr-CA" sz="1900" kern="1200">
              <a:latin typeface="Calibri Light" panose="020F0302020204030204"/>
            </a:rPr>
            <a:t> </a:t>
          </a:r>
          <a:endParaRPr lang="en-US" sz="1900" kern="1200"/>
        </a:p>
      </dsp:txBody>
      <dsp:txXfrm>
        <a:off x="894506" y="3874138"/>
        <a:ext cx="4955050" cy="774464"/>
      </dsp:txXfrm>
    </dsp:sp>
    <dsp:sp modelId="{BDA3A721-30D8-4529-B1DA-EF84071AEE3C}">
      <dsp:nvSpPr>
        <dsp:cNvPr id="0" name=""/>
        <dsp:cNvSpPr/>
      </dsp:nvSpPr>
      <dsp:spPr>
        <a:xfrm>
          <a:off x="0" y="4842219"/>
          <a:ext cx="5849557" cy="774464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F308315-DC1E-4260-B88C-978394B7EE3D}">
      <dsp:nvSpPr>
        <dsp:cNvPr id="0" name=""/>
        <dsp:cNvSpPr/>
      </dsp:nvSpPr>
      <dsp:spPr>
        <a:xfrm>
          <a:off x="234275" y="5016473"/>
          <a:ext cx="425955" cy="425955"/>
        </a:xfrm>
        <a:prstGeom prst="rect">
          <a:avLst/>
        </a:prstGeom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218F251-0D44-443D-B319-4C6BD46A9561}">
      <dsp:nvSpPr>
        <dsp:cNvPr id="0" name=""/>
        <dsp:cNvSpPr/>
      </dsp:nvSpPr>
      <dsp:spPr>
        <a:xfrm>
          <a:off x="894506" y="4842219"/>
          <a:ext cx="4955050" cy="7744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1964" tIns="81964" rIns="81964" bIns="81964" numCol="1" spcCol="1270" anchor="ctr" anchorCtr="0">
          <a:noAutofit/>
        </a:bodyPr>
        <a:lstStyle/>
        <a:p>
          <a:pPr marL="0" lvl="0" indent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A" sz="1900" kern="1200">
              <a:solidFill>
                <a:srgbClr val="2D2E83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/>
              <a:ea typeface="+mn-ea"/>
              <a:cs typeface="+mn-cs"/>
            </a:rPr>
            <a:t>Effectuer le déploiement élargi du prescripteur en imagerie</a:t>
          </a:r>
          <a:endParaRPr lang="en-US" sz="1900" kern="1200">
            <a:solidFill>
              <a:srgbClr val="2D2E83">
                <a:hueOff val="0"/>
                <a:satOff val="0"/>
                <a:lumOff val="0"/>
                <a:alphaOff val="0"/>
              </a:srgbClr>
            </a:solidFill>
            <a:latin typeface="Calibri" panose="020F0502020204030204"/>
            <a:ea typeface="+mn-ea"/>
            <a:cs typeface="+mn-cs"/>
          </a:endParaRPr>
        </a:p>
      </dsp:txBody>
      <dsp:txXfrm>
        <a:off x="894506" y="4842219"/>
        <a:ext cx="4955050" cy="77446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BD0776-09A2-2542-AA42-D3098B306F89}" type="datetimeFigureOut">
              <a:rPr lang="fr-FR" smtClean="0"/>
              <a:t>13/03/2024</a:t>
            </a:fld>
            <a:endParaRPr lang="fr-FR"/>
          </a:p>
        </p:txBody>
      </p:sp>
      <p:sp>
        <p:nvSpPr>
          <p:cNvPr id="4" name="Espace réservé de l'image de diapositiv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CA"/>
              <a:t>Cliquez pour modifier les styles du texte du masque</a:t>
            </a:r>
          </a:p>
          <a:p>
            <a:pPr lvl="1"/>
            <a:r>
              <a:rPr lang="fr-CA"/>
              <a:t>Deuxième niveau</a:t>
            </a:r>
          </a:p>
          <a:p>
            <a:pPr lvl="2"/>
            <a:r>
              <a:rPr lang="fr-CA"/>
              <a:t>Troisième niveau</a:t>
            </a:r>
          </a:p>
          <a:p>
            <a:pPr lvl="3"/>
            <a:r>
              <a:rPr lang="fr-CA"/>
              <a:t>Quatrième niveau</a:t>
            </a:r>
          </a:p>
          <a:p>
            <a:pPr lvl="4"/>
            <a:r>
              <a:rPr lang="fr-CA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D297A7-D826-4D4C-AA45-90E9FF779E1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35884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dirty="0"/>
              <a:t>Moderniser le processus – combler + 10 ans de retard </a:t>
            </a:r>
          </a:p>
          <a:p>
            <a:r>
              <a:rPr lang="fr-CA" dirty="0"/>
              <a:t>Centraliser l’information / google –pub </a:t>
            </a:r>
            <a:r>
              <a:rPr lang="fr-CA" dirty="0" err="1"/>
              <a:t>med</a:t>
            </a:r>
            <a:r>
              <a:rPr lang="fr-CA" dirty="0"/>
              <a:t> </a:t>
            </a:r>
            <a:r>
              <a:rPr lang="fr-CA" dirty="0" err="1"/>
              <a:t>etc</a:t>
            </a:r>
            <a:endParaRPr lang="fr-CA" dirty="0"/>
          </a:p>
          <a:p>
            <a:r>
              <a:rPr lang="fr-CA" dirty="0"/>
              <a:t>Outil pour identifier les secteurs qui demandent de la formation </a:t>
            </a:r>
          </a:p>
          <a:p>
            <a:endParaRPr lang="fr-CA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D297A7-D826-4D4C-AA45-90E9FF779E16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282057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dirty="0"/>
              <a:t>Pertinence c’est nouveau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D297A7-D826-4D4C-AA45-90E9FF779E16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851233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72B72E-199D-9BCB-E938-2FA3536463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6A2A6B9-0118-D35E-BD17-63BE5FE2D4A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9582A99-2077-F28B-9525-FE83D3AFC57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/>
              <a:t>Calendrier déposé au  ministre 2022-02-04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373CCE-3D10-309C-FC61-127DFE723D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C41C64-3B65-4897-8D3B-3B1D0179E22D}" type="slidenum">
              <a:rPr kumimoji="0" lang="fr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r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1190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0778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8">
            <a:extLst>
              <a:ext uri="{FF2B5EF4-FFF2-40B4-BE49-F238E27FC236}">
                <a16:creationId xmlns:a16="http://schemas.microsoft.com/office/drawing/2014/main" id="{1620F6A6-DD98-A6AA-4E24-77F998855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375" y="940198"/>
            <a:ext cx="3392159" cy="368554"/>
          </a:xfrm>
          <a:prstGeom prst="rect">
            <a:avLst/>
          </a:prstGeom>
        </p:spPr>
        <p:txBody>
          <a:bodyPr/>
          <a:lstStyle>
            <a:lvl1pPr>
              <a:defRPr sz="2000" b="1" cap="all" spc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/>
              <a:t>SURTITRE</a:t>
            </a:r>
            <a:endParaRPr lang="fr-CA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72EC763-510E-CA87-01B0-D35C41986D4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343048" y="-1"/>
            <a:ext cx="5848950" cy="6165850"/>
          </a:xfrm>
          <a:prstGeom prst="rect">
            <a:avLst/>
          </a:prstGeom>
          <a:solidFill>
            <a:srgbClr val="E7F7F4"/>
          </a:solidFill>
        </p:spPr>
        <p:txBody>
          <a:bodyPr anchor="ctr"/>
          <a:lstStyle>
            <a:lvl1pPr marL="0" indent="0" algn="ctr">
              <a:buNone/>
              <a:defRPr sz="1600" cap="all" baseline="0">
                <a:solidFill>
                  <a:srgbClr val="9AE6DA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fr-CA"/>
              <a:t>Cliquer ici pour insérer une photo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751AD7A-5E61-04AF-0DCE-B5FA5FF67A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326" y="5821292"/>
            <a:ext cx="1161183" cy="344557"/>
          </a:xfrm>
          <a:prstGeom prst="rect">
            <a:avLst/>
          </a:prstGeom>
        </p:spPr>
      </p:pic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A596522D-4DDD-1567-7015-352B7D35D9F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375" y="1828900"/>
            <a:ext cx="5228578" cy="941387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buNone/>
              <a:defRPr sz="5400" b="0" i="0" cap="all" baseline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lvl="0"/>
            <a:r>
              <a:rPr lang="en-US"/>
              <a:t>LOREM IPSUM DOLOR</a:t>
            </a:r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3251921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bg>
      <p:bgPr>
        <a:solidFill>
          <a:srgbClr val="E7F7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6D98507C-3730-7628-01B0-8A7055158897}"/>
              </a:ext>
            </a:extLst>
          </p:cNvPr>
          <p:cNvSpPr txBox="1"/>
          <p:nvPr userDrawn="1"/>
        </p:nvSpPr>
        <p:spPr>
          <a:xfrm>
            <a:off x="7445530" y="6165850"/>
            <a:ext cx="4026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7283CB3-05C1-3342-95EF-FE3FE8CCCB77}" type="slidenum">
              <a:rPr lang="fr-CA" sz="800" b="1" spc="0">
                <a:solidFill>
                  <a:srgbClr val="9AE6DA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‹n°›</a:t>
            </a:fld>
            <a:endParaRPr lang="fr-CA" sz="800" b="1" spc="0">
              <a:solidFill>
                <a:srgbClr val="9AE6DA"/>
              </a:solidFill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4E71E68F-66BC-53EE-86EF-2146E62806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375" y="1272742"/>
            <a:ext cx="2901301" cy="15891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lang="en-CA" sz="1200" b="0" i="0" u="none" strike="noStrike">
                <a:solidFill>
                  <a:srgbClr val="00778C"/>
                </a:solidFill>
                <a:effectLst/>
              </a:defRPr>
            </a:lvl1pPr>
            <a:lvl2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fr-CA" err="1"/>
              <a:t>Consectetur</a:t>
            </a:r>
            <a:r>
              <a:rPr lang="fr-CA"/>
              <a:t> </a:t>
            </a:r>
            <a:r>
              <a:rPr lang="fr-CA" err="1"/>
              <a:t>adipiscing</a:t>
            </a:r>
            <a:r>
              <a:rPr lang="fr-CA"/>
              <a:t> </a:t>
            </a:r>
            <a:r>
              <a:rPr lang="fr-CA" err="1"/>
              <a:t>elit</a:t>
            </a:r>
            <a:r>
              <a:rPr lang="fr-CA"/>
              <a:t>, </a:t>
            </a:r>
            <a:r>
              <a:rPr lang="fr-CA" err="1"/>
              <a:t>sed</a:t>
            </a:r>
            <a:r>
              <a:rPr lang="fr-CA"/>
              <a:t> do </a:t>
            </a:r>
            <a:r>
              <a:rPr lang="fr-CA" err="1"/>
              <a:t>eiusmod</a:t>
            </a:r>
            <a:r>
              <a:rPr lang="fr-CA"/>
              <a:t> </a:t>
            </a:r>
            <a:r>
              <a:rPr lang="fr-CA" err="1"/>
              <a:t>tempor</a:t>
            </a:r>
            <a:r>
              <a:rPr lang="fr-CA"/>
              <a:t> </a:t>
            </a:r>
            <a:r>
              <a:rPr lang="fr-CA" err="1"/>
              <a:t>incididunt</a:t>
            </a:r>
            <a:r>
              <a:rPr lang="fr-CA"/>
              <a:t> ut </a:t>
            </a:r>
            <a:r>
              <a:rPr lang="fr-CA" err="1"/>
              <a:t>labore</a:t>
            </a:r>
            <a:r>
              <a:rPr lang="fr-CA"/>
              <a:t> et </a:t>
            </a:r>
            <a:r>
              <a:rPr lang="fr-CA" err="1"/>
              <a:t>dolore</a:t>
            </a:r>
            <a:r>
              <a:rPr lang="fr-CA"/>
              <a:t> magna </a:t>
            </a:r>
            <a:r>
              <a:rPr lang="fr-CA" err="1"/>
              <a:t>aliqua</a:t>
            </a:r>
            <a:r>
              <a:rPr lang="fr-CA"/>
              <a:t>. Ut </a:t>
            </a:r>
            <a:r>
              <a:rPr lang="fr-CA" err="1"/>
              <a:t>enim</a:t>
            </a:r>
            <a:r>
              <a:rPr lang="fr-CA"/>
              <a:t> ad </a:t>
            </a:r>
            <a:r>
              <a:rPr lang="fr-CA" err="1"/>
              <a:t>minim</a:t>
            </a:r>
            <a:r>
              <a:rPr lang="fr-CA"/>
              <a:t> </a:t>
            </a:r>
            <a:r>
              <a:rPr lang="fr-CA" err="1"/>
              <a:t>veniam</a:t>
            </a:r>
            <a:r>
              <a:rPr lang="fr-CA"/>
              <a:t>, </a:t>
            </a:r>
            <a:r>
              <a:rPr lang="fr-CA" err="1"/>
              <a:t>quis</a:t>
            </a:r>
            <a:r>
              <a:rPr lang="fr-CA"/>
              <a:t> </a:t>
            </a:r>
            <a:r>
              <a:rPr lang="fr-CA" err="1"/>
              <a:t>nostrud</a:t>
            </a:r>
            <a:r>
              <a:rPr lang="fr-CA"/>
              <a:t> </a:t>
            </a:r>
            <a:r>
              <a:rPr lang="fr-CA" err="1"/>
              <a:t>exercitation</a:t>
            </a:r>
            <a:r>
              <a:rPr lang="fr-CA"/>
              <a:t> </a:t>
            </a:r>
            <a:r>
              <a:rPr lang="fr-CA" err="1"/>
              <a:t>ullamco</a:t>
            </a:r>
            <a:r>
              <a:rPr lang="fr-CA"/>
              <a:t> </a:t>
            </a:r>
            <a:r>
              <a:rPr lang="fr-CA" err="1"/>
              <a:t>laboris</a:t>
            </a:r>
            <a:r>
              <a:rPr lang="fr-CA"/>
              <a:t> </a:t>
            </a:r>
            <a:r>
              <a:rPr lang="fr-CA" err="1"/>
              <a:t>nisi</a:t>
            </a:r>
            <a:r>
              <a:rPr lang="fr-CA"/>
              <a:t> ut </a:t>
            </a:r>
            <a:r>
              <a:rPr lang="fr-CA" err="1"/>
              <a:t>aliquip</a:t>
            </a:r>
            <a:r>
              <a:rPr lang="fr-CA"/>
              <a:t> ex </a:t>
            </a:r>
            <a:r>
              <a:rPr lang="fr-CA" err="1"/>
              <a:t>ea</a:t>
            </a:r>
            <a:r>
              <a:rPr lang="fr-CA"/>
              <a:t> commodo </a:t>
            </a:r>
            <a:r>
              <a:rPr lang="fr-CA" err="1"/>
              <a:t>consequat</a:t>
            </a:r>
            <a:endParaRPr lang="fr-CA"/>
          </a:p>
        </p:txBody>
      </p:sp>
      <p:sp>
        <p:nvSpPr>
          <p:cNvPr id="12" name="Text Placeholder 17">
            <a:extLst>
              <a:ext uri="{FF2B5EF4-FFF2-40B4-BE49-F238E27FC236}">
                <a16:creationId xmlns:a16="http://schemas.microsoft.com/office/drawing/2014/main" id="{6E60CEAA-8DBA-D18F-0158-5686D7C9FA8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0375" y="753763"/>
            <a:ext cx="2901301" cy="38157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lang="en-CA" sz="1500" b="1" i="0" u="none" strike="noStrike" cap="all" baseline="0">
                <a:solidFill>
                  <a:srgbClr val="00778C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fr-CA"/>
              <a:t>LOREM IPSUM DOLOR SI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CB6F09F-5D03-44BB-030A-71F803186E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759" y="6165850"/>
            <a:ext cx="984792" cy="292216"/>
          </a:xfrm>
          <a:prstGeom prst="rect">
            <a:avLst/>
          </a:prstGeom>
        </p:spPr>
      </p:pic>
      <p:sp>
        <p:nvSpPr>
          <p:cNvPr id="4" name="Text Placeholder 17">
            <a:extLst>
              <a:ext uri="{FF2B5EF4-FFF2-40B4-BE49-F238E27FC236}">
                <a16:creationId xmlns:a16="http://schemas.microsoft.com/office/drawing/2014/main" id="{4016FFB9-56A4-D1BA-C722-B963FA4F24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08976" y="1272742"/>
            <a:ext cx="2901301" cy="15891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lang="en-CA" sz="1200" b="0" i="0" u="none" strike="noStrike">
                <a:solidFill>
                  <a:srgbClr val="00778C"/>
                </a:solidFill>
                <a:effectLst/>
              </a:defRPr>
            </a:lvl1pPr>
            <a:lvl2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fr-CA" err="1"/>
              <a:t>Consectetur</a:t>
            </a:r>
            <a:r>
              <a:rPr lang="fr-CA"/>
              <a:t> </a:t>
            </a:r>
            <a:r>
              <a:rPr lang="fr-CA" err="1"/>
              <a:t>adipiscing</a:t>
            </a:r>
            <a:r>
              <a:rPr lang="fr-CA"/>
              <a:t> </a:t>
            </a:r>
            <a:r>
              <a:rPr lang="fr-CA" err="1"/>
              <a:t>elit</a:t>
            </a:r>
            <a:r>
              <a:rPr lang="fr-CA"/>
              <a:t>, </a:t>
            </a:r>
            <a:r>
              <a:rPr lang="fr-CA" err="1"/>
              <a:t>sed</a:t>
            </a:r>
            <a:r>
              <a:rPr lang="fr-CA"/>
              <a:t> do </a:t>
            </a:r>
            <a:r>
              <a:rPr lang="fr-CA" err="1"/>
              <a:t>eiusmod</a:t>
            </a:r>
            <a:r>
              <a:rPr lang="fr-CA"/>
              <a:t> </a:t>
            </a:r>
            <a:r>
              <a:rPr lang="fr-CA" err="1"/>
              <a:t>tempor</a:t>
            </a:r>
            <a:r>
              <a:rPr lang="fr-CA"/>
              <a:t> </a:t>
            </a:r>
            <a:r>
              <a:rPr lang="fr-CA" err="1"/>
              <a:t>incididunt</a:t>
            </a:r>
            <a:r>
              <a:rPr lang="fr-CA"/>
              <a:t> ut </a:t>
            </a:r>
            <a:r>
              <a:rPr lang="fr-CA" err="1"/>
              <a:t>labore</a:t>
            </a:r>
            <a:r>
              <a:rPr lang="fr-CA"/>
              <a:t> et </a:t>
            </a:r>
            <a:r>
              <a:rPr lang="fr-CA" err="1"/>
              <a:t>dolore</a:t>
            </a:r>
            <a:r>
              <a:rPr lang="fr-CA"/>
              <a:t> magna </a:t>
            </a:r>
            <a:r>
              <a:rPr lang="fr-CA" err="1"/>
              <a:t>aliqua</a:t>
            </a:r>
            <a:r>
              <a:rPr lang="fr-CA"/>
              <a:t>. Ut </a:t>
            </a:r>
            <a:r>
              <a:rPr lang="fr-CA" err="1"/>
              <a:t>enim</a:t>
            </a:r>
            <a:r>
              <a:rPr lang="fr-CA"/>
              <a:t> ad </a:t>
            </a:r>
            <a:r>
              <a:rPr lang="fr-CA" err="1"/>
              <a:t>minim</a:t>
            </a:r>
            <a:r>
              <a:rPr lang="fr-CA"/>
              <a:t> </a:t>
            </a:r>
            <a:r>
              <a:rPr lang="fr-CA" err="1"/>
              <a:t>veniam</a:t>
            </a:r>
            <a:r>
              <a:rPr lang="fr-CA"/>
              <a:t>, </a:t>
            </a:r>
            <a:r>
              <a:rPr lang="fr-CA" err="1"/>
              <a:t>quis</a:t>
            </a:r>
            <a:r>
              <a:rPr lang="fr-CA"/>
              <a:t> </a:t>
            </a:r>
            <a:r>
              <a:rPr lang="fr-CA" err="1"/>
              <a:t>nostrud</a:t>
            </a:r>
            <a:r>
              <a:rPr lang="fr-CA"/>
              <a:t> </a:t>
            </a:r>
            <a:r>
              <a:rPr lang="fr-CA" err="1"/>
              <a:t>exercitation</a:t>
            </a:r>
            <a:r>
              <a:rPr lang="fr-CA"/>
              <a:t> </a:t>
            </a:r>
            <a:r>
              <a:rPr lang="fr-CA" err="1"/>
              <a:t>ullamco</a:t>
            </a:r>
            <a:r>
              <a:rPr lang="fr-CA"/>
              <a:t> </a:t>
            </a:r>
            <a:r>
              <a:rPr lang="fr-CA" err="1"/>
              <a:t>laboris</a:t>
            </a:r>
            <a:r>
              <a:rPr lang="fr-CA"/>
              <a:t> </a:t>
            </a:r>
            <a:r>
              <a:rPr lang="fr-CA" err="1"/>
              <a:t>nisi</a:t>
            </a:r>
            <a:r>
              <a:rPr lang="fr-CA"/>
              <a:t> ut </a:t>
            </a:r>
            <a:r>
              <a:rPr lang="fr-CA" err="1"/>
              <a:t>aliquip</a:t>
            </a:r>
            <a:r>
              <a:rPr lang="fr-CA"/>
              <a:t> ex </a:t>
            </a:r>
            <a:r>
              <a:rPr lang="fr-CA" err="1"/>
              <a:t>ea</a:t>
            </a:r>
            <a:r>
              <a:rPr lang="fr-CA"/>
              <a:t> commodo </a:t>
            </a:r>
            <a:r>
              <a:rPr lang="fr-CA" err="1"/>
              <a:t>consequat</a:t>
            </a:r>
            <a:endParaRPr lang="fr-CA"/>
          </a:p>
        </p:txBody>
      </p:sp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3314AAE0-78D9-C4DF-49D0-02768CF941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8976" y="753763"/>
            <a:ext cx="2901301" cy="38157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lang="en-CA" sz="1500" b="1" i="0" u="none" strike="noStrike" cap="all" baseline="0">
                <a:solidFill>
                  <a:srgbClr val="00778C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fr-CA"/>
              <a:t>LOREM IPSUM DOLOR SIT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76409CE-8AA3-85ED-0B2D-9516ECFA457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0375" y="3842947"/>
            <a:ext cx="2901301" cy="15891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lang="en-CA" sz="1200" b="0" i="0" u="none" strike="noStrike">
                <a:solidFill>
                  <a:srgbClr val="00778C"/>
                </a:solidFill>
                <a:effectLst/>
              </a:defRPr>
            </a:lvl1pPr>
            <a:lvl2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fr-CA" err="1"/>
              <a:t>Consectetur</a:t>
            </a:r>
            <a:r>
              <a:rPr lang="fr-CA"/>
              <a:t> </a:t>
            </a:r>
            <a:r>
              <a:rPr lang="fr-CA" err="1"/>
              <a:t>adipiscing</a:t>
            </a:r>
            <a:r>
              <a:rPr lang="fr-CA"/>
              <a:t> </a:t>
            </a:r>
            <a:r>
              <a:rPr lang="fr-CA" err="1"/>
              <a:t>elit</a:t>
            </a:r>
            <a:r>
              <a:rPr lang="fr-CA"/>
              <a:t>, </a:t>
            </a:r>
            <a:r>
              <a:rPr lang="fr-CA" err="1"/>
              <a:t>sed</a:t>
            </a:r>
            <a:r>
              <a:rPr lang="fr-CA"/>
              <a:t> do </a:t>
            </a:r>
            <a:r>
              <a:rPr lang="fr-CA" err="1"/>
              <a:t>eiusmod</a:t>
            </a:r>
            <a:r>
              <a:rPr lang="fr-CA"/>
              <a:t> </a:t>
            </a:r>
            <a:r>
              <a:rPr lang="fr-CA" err="1"/>
              <a:t>tempor</a:t>
            </a:r>
            <a:r>
              <a:rPr lang="fr-CA"/>
              <a:t> </a:t>
            </a:r>
            <a:r>
              <a:rPr lang="fr-CA" err="1"/>
              <a:t>incididunt</a:t>
            </a:r>
            <a:r>
              <a:rPr lang="fr-CA"/>
              <a:t> ut </a:t>
            </a:r>
            <a:r>
              <a:rPr lang="fr-CA" err="1"/>
              <a:t>labore</a:t>
            </a:r>
            <a:r>
              <a:rPr lang="fr-CA"/>
              <a:t> et </a:t>
            </a:r>
            <a:r>
              <a:rPr lang="fr-CA" err="1"/>
              <a:t>dolore</a:t>
            </a:r>
            <a:r>
              <a:rPr lang="fr-CA"/>
              <a:t> magna </a:t>
            </a:r>
            <a:r>
              <a:rPr lang="fr-CA" err="1"/>
              <a:t>aliqua</a:t>
            </a:r>
            <a:r>
              <a:rPr lang="fr-CA"/>
              <a:t>. Ut </a:t>
            </a:r>
            <a:r>
              <a:rPr lang="fr-CA" err="1"/>
              <a:t>enim</a:t>
            </a:r>
            <a:r>
              <a:rPr lang="fr-CA"/>
              <a:t> ad </a:t>
            </a:r>
            <a:r>
              <a:rPr lang="fr-CA" err="1"/>
              <a:t>minim</a:t>
            </a:r>
            <a:r>
              <a:rPr lang="fr-CA"/>
              <a:t> </a:t>
            </a:r>
            <a:r>
              <a:rPr lang="fr-CA" err="1"/>
              <a:t>veniam</a:t>
            </a:r>
            <a:r>
              <a:rPr lang="fr-CA"/>
              <a:t>, </a:t>
            </a:r>
            <a:r>
              <a:rPr lang="fr-CA" err="1"/>
              <a:t>quis</a:t>
            </a:r>
            <a:r>
              <a:rPr lang="fr-CA"/>
              <a:t> </a:t>
            </a:r>
            <a:r>
              <a:rPr lang="fr-CA" err="1"/>
              <a:t>nostrud</a:t>
            </a:r>
            <a:r>
              <a:rPr lang="fr-CA"/>
              <a:t> </a:t>
            </a:r>
            <a:r>
              <a:rPr lang="fr-CA" err="1"/>
              <a:t>exercitation</a:t>
            </a:r>
            <a:r>
              <a:rPr lang="fr-CA"/>
              <a:t> </a:t>
            </a:r>
            <a:r>
              <a:rPr lang="fr-CA" err="1"/>
              <a:t>ullamco</a:t>
            </a:r>
            <a:r>
              <a:rPr lang="fr-CA"/>
              <a:t> </a:t>
            </a:r>
            <a:r>
              <a:rPr lang="fr-CA" err="1"/>
              <a:t>laboris</a:t>
            </a:r>
            <a:r>
              <a:rPr lang="fr-CA"/>
              <a:t> </a:t>
            </a:r>
            <a:r>
              <a:rPr lang="fr-CA" err="1"/>
              <a:t>nisi</a:t>
            </a:r>
            <a:r>
              <a:rPr lang="fr-CA"/>
              <a:t> ut </a:t>
            </a:r>
            <a:r>
              <a:rPr lang="fr-CA" err="1"/>
              <a:t>aliquip</a:t>
            </a:r>
            <a:r>
              <a:rPr lang="fr-CA"/>
              <a:t> ex </a:t>
            </a:r>
            <a:r>
              <a:rPr lang="fr-CA" err="1"/>
              <a:t>ea</a:t>
            </a:r>
            <a:r>
              <a:rPr lang="fr-CA"/>
              <a:t> commodo </a:t>
            </a:r>
            <a:r>
              <a:rPr lang="fr-CA" err="1"/>
              <a:t>consequat</a:t>
            </a:r>
            <a:endParaRPr lang="fr-CA"/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9BCFDA5F-F1E0-4DB7-235F-FDADB4D97A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0375" y="3323968"/>
            <a:ext cx="2901301" cy="38157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lang="en-CA" sz="1500" b="1" i="0" u="none" strike="noStrike" cap="all" baseline="0">
                <a:solidFill>
                  <a:srgbClr val="00778C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fr-CA"/>
              <a:t>LOREM IPSUM DOLOR SIT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734B1A0-5162-FD74-C809-8C65CAF702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08976" y="3842947"/>
            <a:ext cx="2901301" cy="15891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lang="en-CA" sz="1200" b="0" i="0" u="none" strike="noStrike">
                <a:solidFill>
                  <a:srgbClr val="00778C"/>
                </a:solidFill>
                <a:effectLst/>
              </a:defRPr>
            </a:lvl1pPr>
            <a:lvl2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fr-CA" err="1"/>
              <a:t>Consectetur</a:t>
            </a:r>
            <a:r>
              <a:rPr lang="fr-CA"/>
              <a:t> </a:t>
            </a:r>
            <a:r>
              <a:rPr lang="fr-CA" err="1"/>
              <a:t>adipiscing</a:t>
            </a:r>
            <a:r>
              <a:rPr lang="fr-CA"/>
              <a:t> </a:t>
            </a:r>
            <a:r>
              <a:rPr lang="fr-CA" err="1"/>
              <a:t>elit</a:t>
            </a:r>
            <a:r>
              <a:rPr lang="fr-CA"/>
              <a:t>, </a:t>
            </a:r>
            <a:r>
              <a:rPr lang="fr-CA" err="1"/>
              <a:t>sed</a:t>
            </a:r>
            <a:r>
              <a:rPr lang="fr-CA"/>
              <a:t> do </a:t>
            </a:r>
            <a:r>
              <a:rPr lang="fr-CA" err="1"/>
              <a:t>eiusmod</a:t>
            </a:r>
            <a:r>
              <a:rPr lang="fr-CA"/>
              <a:t> </a:t>
            </a:r>
            <a:r>
              <a:rPr lang="fr-CA" err="1"/>
              <a:t>tempor</a:t>
            </a:r>
            <a:r>
              <a:rPr lang="fr-CA"/>
              <a:t> </a:t>
            </a:r>
            <a:r>
              <a:rPr lang="fr-CA" err="1"/>
              <a:t>incididunt</a:t>
            </a:r>
            <a:r>
              <a:rPr lang="fr-CA"/>
              <a:t> ut </a:t>
            </a:r>
            <a:r>
              <a:rPr lang="fr-CA" err="1"/>
              <a:t>labore</a:t>
            </a:r>
            <a:r>
              <a:rPr lang="fr-CA"/>
              <a:t> et </a:t>
            </a:r>
            <a:r>
              <a:rPr lang="fr-CA" err="1"/>
              <a:t>dolore</a:t>
            </a:r>
            <a:r>
              <a:rPr lang="fr-CA"/>
              <a:t> magna </a:t>
            </a:r>
            <a:r>
              <a:rPr lang="fr-CA" err="1"/>
              <a:t>aliqua</a:t>
            </a:r>
            <a:r>
              <a:rPr lang="fr-CA"/>
              <a:t>. Ut </a:t>
            </a:r>
            <a:r>
              <a:rPr lang="fr-CA" err="1"/>
              <a:t>enim</a:t>
            </a:r>
            <a:r>
              <a:rPr lang="fr-CA"/>
              <a:t> ad </a:t>
            </a:r>
            <a:r>
              <a:rPr lang="fr-CA" err="1"/>
              <a:t>minim</a:t>
            </a:r>
            <a:r>
              <a:rPr lang="fr-CA"/>
              <a:t> </a:t>
            </a:r>
            <a:r>
              <a:rPr lang="fr-CA" err="1"/>
              <a:t>veniam</a:t>
            </a:r>
            <a:r>
              <a:rPr lang="fr-CA"/>
              <a:t>, </a:t>
            </a:r>
            <a:r>
              <a:rPr lang="fr-CA" err="1"/>
              <a:t>quis</a:t>
            </a:r>
            <a:r>
              <a:rPr lang="fr-CA"/>
              <a:t> </a:t>
            </a:r>
            <a:r>
              <a:rPr lang="fr-CA" err="1"/>
              <a:t>nostrud</a:t>
            </a:r>
            <a:r>
              <a:rPr lang="fr-CA"/>
              <a:t> </a:t>
            </a:r>
            <a:r>
              <a:rPr lang="fr-CA" err="1"/>
              <a:t>exercitation</a:t>
            </a:r>
            <a:r>
              <a:rPr lang="fr-CA"/>
              <a:t> </a:t>
            </a:r>
            <a:r>
              <a:rPr lang="fr-CA" err="1"/>
              <a:t>ullamco</a:t>
            </a:r>
            <a:r>
              <a:rPr lang="fr-CA"/>
              <a:t> </a:t>
            </a:r>
            <a:r>
              <a:rPr lang="fr-CA" err="1"/>
              <a:t>laboris</a:t>
            </a:r>
            <a:r>
              <a:rPr lang="fr-CA"/>
              <a:t> </a:t>
            </a:r>
            <a:r>
              <a:rPr lang="fr-CA" err="1"/>
              <a:t>nisi</a:t>
            </a:r>
            <a:r>
              <a:rPr lang="fr-CA"/>
              <a:t> ut </a:t>
            </a:r>
            <a:r>
              <a:rPr lang="fr-CA" err="1"/>
              <a:t>aliquip</a:t>
            </a:r>
            <a:r>
              <a:rPr lang="fr-CA"/>
              <a:t> ex </a:t>
            </a:r>
            <a:r>
              <a:rPr lang="fr-CA" err="1"/>
              <a:t>ea</a:t>
            </a:r>
            <a:r>
              <a:rPr lang="fr-CA"/>
              <a:t> commodo </a:t>
            </a:r>
            <a:r>
              <a:rPr lang="fr-CA" err="1"/>
              <a:t>consequat</a:t>
            </a:r>
            <a:endParaRPr lang="fr-CA"/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A67198F4-5DA6-2BF6-E4C7-BF223FDD85C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08976" y="3323968"/>
            <a:ext cx="2901301" cy="38157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lang="en-CA" sz="1500" b="1" i="0" u="none" strike="noStrike" cap="all" baseline="0">
                <a:solidFill>
                  <a:srgbClr val="00778C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fr-CA"/>
              <a:t>LOREM IPSUM DOLOR SIT</a:t>
            </a:r>
          </a:p>
        </p:txBody>
      </p:sp>
      <p:sp>
        <p:nvSpPr>
          <p:cNvPr id="23" name="Picture Placeholder 5">
            <a:extLst>
              <a:ext uri="{FF2B5EF4-FFF2-40B4-BE49-F238E27FC236}">
                <a16:creationId xmlns:a16="http://schemas.microsoft.com/office/drawing/2014/main" id="{B326C9A7-1A87-341F-6898-9C2C1C56E04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512831" y="753762"/>
            <a:ext cx="4679169" cy="4678309"/>
          </a:xfrm>
          <a:prstGeom prst="rect">
            <a:avLst/>
          </a:prstGeom>
          <a:solidFill>
            <a:srgbClr val="9AE6DA"/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rgbClr val="00778C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fr-CA"/>
              <a:t>Cliquer pour insérer une photo</a:t>
            </a:r>
          </a:p>
        </p:txBody>
      </p:sp>
    </p:spTree>
    <p:extLst>
      <p:ext uri="{BB962C8B-B14F-4D97-AF65-F5344CB8AC3E}">
        <p14:creationId xmlns:p14="http://schemas.microsoft.com/office/powerpoint/2010/main" val="14617140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numéro de diapositive 3"/>
          <p:cNvSpPr>
            <a:spLocks noGrp="1"/>
          </p:cNvSpPr>
          <p:nvPr>
            <p:ph type="sldNum" sz="quarter" idx="4"/>
          </p:nvPr>
        </p:nvSpPr>
        <p:spPr>
          <a:xfrm>
            <a:off x="8610600" y="44112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1EA75C-EC4C-4D33-ACF8-A8544E993E0B}" type="slidenum">
              <a:rPr lang="fr-CA" smtClean="0"/>
              <a:t>‹n°›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8346883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83769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9AE6D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8">
            <a:extLst>
              <a:ext uri="{FF2B5EF4-FFF2-40B4-BE49-F238E27FC236}">
                <a16:creationId xmlns:a16="http://schemas.microsoft.com/office/drawing/2014/main" id="{1620F6A6-DD98-A6AA-4E24-77F9988556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375" y="940198"/>
            <a:ext cx="3392159" cy="368554"/>
          </a:xfrm>
          <a:prstGeom prst="rect">
            <a:avLst/>
          </a:prstGeom>
        </p:spPr>
        <p:txBody>
          <a:bodyPr/>
          <a:lstStyle>
            <a:lvl1pPr>
              <a:defRPr sz="2000" b="1" cap="all" spc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/>
              <a:t>SURTITRE</a:t>
            </a:r>
            <a:endParaRPr lang="fr-CA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72EC763-510E-CA87-01B0-D35C41986D4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343048" y="-1"/>
            <a:ext cx="5848950" cy="6165850"/>
          </a:xfrm>
          <a:prstGeom prst="rect">
            <a:avLst/>
          </a:prstGeom>
          <a:solidFill>
            <a:srgbClr val="E7F7F4"/>
          </a:solidFill>
        </p:spPr>
        <p:txBody>
          <a:bodyPr anchor="ctr"/>
          <a:lstStyle>
            <a:lvl1pPr marL="0" indent="0" algn="ctr">
              <a:buNone/>
              <a:defRPr sz="1600" cap="all" baseline="0">
                <a:solidFill>
                  <a:srgbClr val="9AE6DA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fr-CA"/>
              <a:t>Cliquer ici pour insérer une photo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751AD7A-5E61-04AF-0DCE-B5FA5FF67A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326" y="5821292"/>
            <a:ext cx="1161183" cy="34455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AD36B64-95EA-0A3D-616A-45F96EF7CEC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264" y="5821274"/>
            <a:ext cx="1161246" cy="344575"/>
          </a:xfrm>
          <a:prstGeom prst="rect">
            <a:avLst/>
          </a:prstGeom>
        </p:spPr>
      </p:pic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F6E92ED6-B22A-F09B-DD53-CB3D971199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375" y="1828900"/>
            <a:ext cx="5228578" cy="941387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buNone/>
              <a:defRPr sz="5400" b="0" i="0" cap="all" baseline="0">
                <a:solidFill>
                  <a:srgbClr val="01778D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lvl="0"/>
            <a:r>
              <a:rPr lang="en-US"/>
              <a:t>LOREM IPSUM DOLOR</a:t>
            </a:r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8710810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0177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56756B85-3744-EFF0-31F8-75AB1DA8BBE0}"/>
              </a:ext>
            </a:extLst>
          </p:cNvPr>
          <p:cNvSpPr txBox="1"/>
          <p:nvPr userDrawn="1"/>
        </p:nvSpPr>
        <p:spPr>
          <a:xfrm>
            <a:off x="7445530" y="6165850"/>
            <a:ext cx="4026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7283CB3-05C1-3342-95EF-FE3FE8CCCB77}" type="slidenum">
              <a:rPr lang="fr-CA" sz="800" b="1" cap="all" spc="0" baseline="0">
                <a:solidFill>
                  <a:srgbClr val="9AE6DA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‹n°›</a:t>
            </a:fld>
            <a:endParaRPr lang="fr-CA" sz="800" b="1" cap="all" spc="0" baseline="0">
              <a:solidFill>
                <a:srgbClr val="9AE6DA"/>
              </a:solidFill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931A41B-81A7-0044-FC13-15CF7EFE63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325" y="6165850"/>
            <a:ext cx="992226" cy="294422"/>
          </a:xfrm>
          <a:prstGeom prst="rect">
            <a:avLst/>
          </a:prstGeom>
        </p:spPr>
      </p:pic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6FAA3CF1-7A2E-AD52-9A98-6F68A4AE11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5325" y="2967335"/>
            <a:ext cx="10775950" cy="9413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i="0" cap="all" baseline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lvl="0"/>
            <a:r>
              <a:rPr lang="en-US"/>
              <a:t>LOREM IPSUM DOLOR</a:t>
            </a:r>
            <a:endParaRPr lang="fr-CA"/>
          </a:p>
        </p:txBody>
      </p:sp>
      <p:sp>
        <p:nvSpPr>
          <p:cNvPr id="11" name="Title 8">
            <a:extLst>
              <a:ext uri="{FF2B5EF4-FFF2-40B4-BE49-F238E27FC236}">
                <a16:creationId xmlns:a16="http://schemas.microsoft.com/office/drawing/2014/main" id="{BCBF928D-4CA7-88CA-818B-33CE4B110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375" y="525600"/>
            <a:ext cx="3392159" cy="368554"/>
          </a:xfrm>
          <a:prstGeom prst="rect">
            <a:avLst/>
          </a:prstGeom>
        </p:spPr>
        <p:txBody>
          <a:bodyPr/>
          <a:lstStyle>
            <a:lvl1pPr>
              <a:defRPr sz="2000" b="1" cap="all" spc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/>
              <a:t>SECTION</a:t>
            </a:r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8115513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rgbClr val="9AE6D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6FAA3CF1-7A2E-AD52-9A98-6F68A4AE11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5325" y="2967335"/>
            <a:ext cx="10775950" cy="9413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i="0" cap="all" baseline="0">
                <a:solidFill>
                  <a:srgbClr val="01778D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lvl="0"/>
            <a:r>
              <a:rPr lang="en-US"/>
              <a:t>LOREM IPSUM DOLOR</a:t>
            </a:r>
            <a:endParaRPr lang="fr-CA"/>
          </a:p>
        </p:txBody>
      </p:sp>
      <p:sp>
        <p:nvSpPr>
          <p:cNvPr id="11" name="Title 8">
            <a:extLst>
              <a:ext uri="{FF2B5EF4-FFF2-40B4-BE49-F238E27FC236}">
                <a16:creationId xmlns:a16="http://schemas.microsoft.com/office/drawing/2014/main" id="{BCBF928D-4CA7-88CA-818B-33CE4B110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375" y="525600"/>
            <a:ext cx="3392159" cy="368554"/>
          </a:xfrm>
          <a:prstGeom prst="rect">
            <a:avLst/>
          </a:prstGeom>
        </p:spPr>
        <p:txBody>
          <a:bodyPr/>
          <a:lstStyle>
            <a:lvl1pPr>
              <a:defRPr sz="2000" b="1" cap="all" spc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/>
              <a:t>SECTION</a:t>
            </a:r>
            <a:endParaRPr lang="fr-CA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7391615-D73A-CA85-5F16-2381BB93C7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759" y="6165850"/>
            <a:ext cx="984792" cy="29221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8C760AB-4D8C-7D58-4D7C-A8FD2ED832A5}"/>
              </a:ext>
            </a:extLst>
          </p:cNvPr>
          <p:cNvSpPr txBox="1"/>
          <p:nvPr userDrawn="1"/>
        </p:nvSpPr>
        <p:spPr>
          <a:xfrm>
            <a:off x="7433953" y="6165850"/>
            <a:ext cx="4026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7283CB3-05C1-3342-95EF-FE3FE8CCCB77}" type="slidenum">
              <a:rPr lang="fr-CA" sz="800" b="1" cap="all" spc="0" baseline="0">
                <a:solidFill>
                  <a:srgbClr val="00778C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‹n°›</a:t>
            </a:fld>
            <a:endParaRPr lang="fr-CA" sz="800" b="1" cap="all" spc="0" baseline="0">
              <a:solidFill>
                <a:srgbClr val="00778C"/>
              </a:solidFill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346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bg>
      <p:bgPr>
        <a:solidFill>
          <a:srgbClr val="0177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6FAA3CF1-7A2E-AD52-9A98-6F68A4AE11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5325" y="2967335"/>
            <a:ext cx="10775950" cy="9413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i="0" cap="all" baseline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lvl="0"/>
            <a:r>
              <a:rPr lang="en-US"/>
              <a:t>LOREM IPSUM DOLOR</a:t>
            </a:r>
            <a:endParaRPr lang="fr-CA"/>
          </a:p>
        </p:txBody>
      </p:sp>
      <p:sp>
        <p:nvSpPr>
          <p:cNvPr id="11" name="Title 8">
            <a:extLst>
              <a:ext uri="{FF2B5EF4-FFF2-40B4-BE49-F238E27FC236}">
                <a16:creationId xmlns:a16="http://schemas.microsoft.com/office/drawing/2014/main" id="{BCBF928D-4CA7-88CA-818B-33CE4B110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375" y="525600"/>
            <a:ext cx="3392159" cy="368554"/>
          </a:xfrm>
          <a:prstGeom prst="rect">
            <a:avLst/>
          </a:prstGeom>
        </p:spPr>
        <p:txBody>
          <a:bodyPr/>
          <a:lstStyle>
            <a:lvl1pPr>
              <a:defRPr sz="2000" b="1" cap="all" spc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/>
              <a:t>SECTION</a:t>
            </a:r>
            <a:endParaRPr lang="fr-CA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C0B5F6B-6DB7-9F80-A457-2E962BD69A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43312" y="2298357"/>
            <a:ext cx="4879975" cy="4194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000" cap="all" spc="300" baseline="0">
                <a:solidFill>
                  <a:srgbClr val="9AE6DA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>
              <a:buNone/>
              <a:defRPr>
                <a:solidFill>
                  <a:srgbClr val="01778D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400" indent="0">
              <a:buNone/>
              <a:defRPr>
                <a:solidFill>
                  <a:srgbClr val="01778D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600" indent="0">
              <a:buNone/>
              <a:defRPr>
                <a:solidFill>
                  <a:srgbClr val="01778D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800" indent="0">
              <a:buNone/>
              <a:defRPr>
                <a:solidFill>
                  <a:srgbClr val="01778D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SURTIT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5B0D698-B293-258A-FAF4-7039CF0A6377}"/>
              </a:ext>
            </a:extLst>
          </p:cNvPr>
          <p:cNvSpPr txBox="1"/>
          <p:nvPr userDrawn="1"/>
        </p:nvSpPr>
        <p:spPr>
          <a:xfrm>
            <a:off x="7445530" y="6165850"/>
            <a:ext cx="4026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7283CB3-05C1-3342-95EF-FE3FE8CCCB77}" type="slidenum">
              <a:rPr lang="fr-CA" sz="800" b="1" cap="all" spc="0" baseline="0">
                <a:solidFill>
                  <a:srgbClr val="9AE6DA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‹n°›</a:t>
            </a:fld>
            <a:endParaRPr lang="fr-CA" sz="800" b="1" cap="all" spc="0" baseline="0">
              <a:solidFill>
                <a:srgbClr val="9AE6DA"/>
              </a:solidFill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43FDDD7-C7C1-CCD9-6A3A-45A8965E9F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325" y="6165850"/>
            <a:ext cx="992226" cy="294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5660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bg>
      <p:bgPr>
        <a:solidFill>
          <a:srgbClr val="9AE6D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6FAA3CF1-7A2E-AD52-9A98-6F68A4AE11A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5325" y="2967335"/>
            <a:ext cx="10775950" cy="94138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i="0" cap="all" baseline="0">
                <a:solidFill>
                  <a:srgbClr val="01778D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lvl="0"/>
            <a:r>
              <a:rPr lang="en-US"/>
              <a:t>LOREM IPSUM DOLOR</a:t>
            </a:r>
            <a:endParaRPr lang="fr-CA"/>
          </a:p>
        </p:txBody>
      </p:sp>
      <p:sp>
        <p:nvSpPr>
          <p:cNvPr id="11" name="Title 8">
            <a:extLst>
              <a:ext uri="{FF2B5EF4-FFF2-40B4-BE49-F238E27FC236}">
                <a16:creationId xmlns:a16="http://schemas.microsoft.com/office/drawing/2014/main" id="{BCBF928D-4CA7-88CA-818B-33CE4B110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375" y="525600"/>
            <a:ext cx="3392159" cy="368554"/>
          </a:xfrm>
          <a:prstGeom prst="rect">
            <a:avLst/>
          </a:prstGeom>
        </p:spPr>
        <p:txBody>
          <a:bodyPr/>
          <a:lstStyle>
            <a:lvl1pPr>
              <a:defRPr sz="2000" b="1" cap="all" spc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/>
              <a:t>SECTION</a:t>
            </a:r>
            <a:endParaRPr lang="fr-CA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7391615-D73A-CA85-5F16-2381BB93C7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759" y="6165850"/>
            <a:ext cx="984792" cy="29221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8C760AB-4D8C-7D58-4D7C-A8FD2ED832A5}"/>
              </a:ext>
            </a:extLst>
          </p:cNvPr>
          <p:cNvSpPr txBox="1"/>
          <p:nvPr userDrawn="1"/>
        </p:nvSpPr>
        <p:spPr>
          <a:xfrm>
            <a:off x="7433953" y="6165850"/>
            <a:ext cx="4026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7283CB3-05C1-3342-95EF-FE3FE8CCCB77}" type="slidenum">
              <a:rPr lang="fr-CA" sz="800" b="1" cap="all" spc="0" baseline="0">
                <a:solidFill>
                  <a:srgbClr val="00778C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‹n°›</a:t>
            </a:fld>
            <a:endParaRPr lang="fr-CA" sz="800" b="1" cap="all" spc="0" baseline="0">
              <a:solidFill>
                <a:srgbClr val="00778C"/>
              </a:solidFill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C0B5F6B-6DB7-9F80-A457-2E962BD69A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43312" y="2298357"/>
            <a:ext cx="4879975" cy="4194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000" cap="all" spc="300" baseline="0">
                <a:solidFill>
                  <a:srgbClr val="01778D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457200" indent="0">
              <a:buNone/>
              <a:defRPr>
                <a:solidFill>
                  <a:srgbClr val="01778D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  <a:lvl3pPr marL="914400" indent="0">
              <a:buNone/>
              <a:defRPr>
                <a:solidFill>
                  <a:srgbClr val="01778D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3pPr>
            <a:lvl4pPr marL="1371600" indent="0">
              <a:buNone/>
              <a:defRPr>
                <a:solidFill>
                  <a:srgbClr val="01778D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4pPr>
            <a:lvl5pPr marL="1828800" indent="0">
              <a:buNone/>
              <a:defRPr>
                <a:solidFill>
                  <a:srgbClr val="01778D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5pPr>
          </a:lstStyle>
          <a:p>
            <a:pPr lvl="0"/>
            <a:r>
              <a:rPr lang="en-US"/>
              <a:t>SURTITRE</a:t>
            </a:r>
          </a:p>
        </p:txBody>
      </p:sp>
    </p:spTree>
    <p:extLst>
      <p:ext uri="{BB962C8B-B14F-4D97-AF65-F5344CB8AC3E}">
        <p14:creationId xmlns:p14="http://schemas.microsoft.com/office/powerpoint/2010/main" val="28277031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rgbClr val="E7F7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1DAA43-BA5D-F3C0-724E-02CA897BA41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720468" y="0"/>
            <a:ext cx="5471531" cy="5470525"/>
          </a:xfrm>
          <a:prstGeom prst="rect">
            <a:avLst/>
          </a:prstGeom>
          <a:solidFill>
            <a:srgbClr val="9AE6DA"/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rgbClr val="00778C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fr-CA"/>
              <a:t>Cliquer pour insérer une photo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D98507C-3730-7628-01B0-8A7055158897}"/>
              </a:ext>
            </a:extLst>
          </p:cNvPr>
          <p:cNvSpPr txBox="1"/>
          <p:nvPr userDrawn="1"/>
        </p:nvSpPr>
        <p:spPr>
          <a:xfrm>
            <a:off x="7445530" y="6165850"/>
            <a:ext cx="4026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7283CB3-05C1-3342-95EF-FE3FE8CCCB77}" type="slidenum">
              <a:rPr lang="fr-CA" sz="800" b="1" spc="0">
                <a:solidFill>
                  <a:srgbClr val="9AE6DA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‹n°›</a:t>
            </a:fld>
            <a:endParaRPr lang="fr-CA" sz="800" b="1" spc="0">
              <a:solidFill>
                <a:srgbClr val="9AE6DA"/>
              </a:solidFill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4E71E68F-66BC-53EE-86EF-2146E62806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375" y="2112537"/>
            <a:ext cx="4456113" cy="15891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lang="en-CA" sz="1200" b="0" i="0" u="none" strike="noStrike">
                <a:solidFill>
                  <a:srgbClr val="00778C"/>
                </a:solidFill>
                <a:effectLst/>
              </a:defRPr>
            </a:lvl1pPr>
            <a:lvl2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fr-CA" err="1"/>
              <a:t>Consectetur</a:t>
            </a:r>
            <a:r>
              <a:rPr lang="fr-CA"/>
              <a:t> </a:t>
            </a:r>
            <a:r>
              <a:rPr lang="fr-CA" err="1"/>
              <a:t>adipiscing</a:t>
            </a:r>
            <a:r>
              <a:rPr lang="fr-CA"/>
              <a:t> </a:t>
            </a:r>
            <a:r>
              <a:rPr lang="fr-CA" err="1"/>
              <a:t>elit</a:t>
            </a:r>
            <a:r>
              <a:rPr lang="fr-CA"/>
              <a:t>, </a:t>
            </a:r>
            <a:r>
              <a:rPr lang="fr-CA" err="1"/>
              <a:t>sed</a:t>
            </a:r>
            <a:r>
              <a:rPr lang="fr-CA"/>
              <a:t> do </a:t>
            </a:r>
            <a:r>
              <a:rPr lang="fr-CA" err="1"/>
              <a:t>eiusmod</a:t>
            </a:r>
            <a:r>
              <a:rPr lang="fr-CA"/>
              <a:t> </a:t>
            </a:r>
            <a:r>
              <a:rPr lang="fr-CA" err="1"/>
              <a:t>tempor</a:t>
            </a:r>
            <a:r>
              <a:rPr lang="fr-CA"/>
              <a:t> </a:t>
            </a:r>
            <a:r>
              <a:rPr lang="fr-CA" err="1"/>
              <a:t>incididunt</a:t>
            </a:r>
            <a:r>
              <a:rPr lang="fr-CA"/>
              <a:t> ut </a:t>
            </a:r>
            <a:r>
              <a:rPr lang="fr-CA" err="1"/>
              <a:t>labore</a:t>
            </a:r>
            <a:r>
              <a:rPr lang="fr-CA"/>
              <a:t> et </a:t>
            </a:r>
            <a:r>
              <a:rPr lang="fr-CA" err="1"/>
              <a:t>dolore</a:t>
            </a:r>
            <a:r>
              <a:rPr lang="fr-CA"/>
              <a:t> magna </a:t>
            </a:r>
            <a:r>
              <a:rPr lang="fr-CA" err="1"/>
              <a:t>aliqua</a:t>
            </a:r>
            <a:r>
              <a:rPr lang="fr-CA"/>
              <a:t>. Ut </a:t>
            </a:r>
            <a:r>
              <a:rPr lang="fr-CA" err="1"/>
              <a:t>enim</a:t>
            </a:r>
            <a:r>
              <a:rPr lang="fr-CA"/>
              <a:t> ad </a:t>
            </a:r>
            <a:r>
              <a:rPr lang="fr-CA" err="1"/>
              <a:t>minim</a:t>
            </a:r>
            <a:r>
              <a:rPr lang="fr-CA"/>
              <a:t> </a:t>
            </a:r>
            <a:r>
              <a:rPr lang="fr-CA" err="1"/>
              <a:t>veniam</a:t>
            </a:r>
            <a:r>
              <a:rPr lang="fr-CA"/>
              <a:t>, </a:t>
            </a:r>
            <a:r>
              <a:rPr lang="fr-CA" err="1"/>
              <a:t>quis</a:t>
            </a:r>
            <a:r>
              <a:rPr lang="fr-CA"/>
              <a:t> </a:t>
            </a:r>
            <a:r>
              <a:rPr lang="fr-CA" err="1"/>
              <a:t>nostrud</a:t>
            </a:r>
            <a:r>
              <a:rPr lang="fr-CA"/>
              <a:t> </a:t>
            </a:r>
            <a:r>
              <a:rPr lang="fr-CA" err="1"/>
              <a:t>exercitation</a:t>
            </a:r>
            <a:r>
              <a:rPr lang="fr-CA"/>
              <a:t> </a:t>
            </a:r>
            <a:r>
              <a:rPr lang="fr-CA" err="1"/>
              <a:t>ullamco</a:t>
            </a:r>
            <a:r>
              <a:rPr lang="fr-CA"/>
              <a:t> </a:t>
            </a:r>
            <a:r>
              <a:rPr lang="fr-CA" err="1"/>
              <a:t>laboris</a:t>
            </a:r>
            <a:r>
              <a:rPr lang="fr-CA"/>
              <a:t> </a:t>
            </a:r>
            <a:r>
              <a:rPr lang="fr-CA" err="1"/>
              <a:t>nisi</a:t>
            </a:r>
            <a:r>
              <a:rPr lang="fr-CA"/>
              <a:t> ut </a:t>
            </a:r>
            <a:r>
              <a:rPr lang="fr-CA" err="1"/>
              <a:t>aliquip</a:t>
            </a:r>
            <a:r>
              <a:rPr lang="fr-CA"/>
              <a:t> ex </a:t>
            </a:r>
            <a:r>
              <a:rPr lang="fr-CA" err="1"/>
              <a:t>ea</a:t>
            </a:r>
            <a:r>
              <a:rPr lang="fr-CA"/>
              <a:t> commodo </a:t>
            </a:r>
            <a:r>
              <a:rPr lang="fr-CA" err="1"/>
              <a:t>consequat</a:t>
            </a:r>
            <a:r>
              <a:rPr lang="fr-CA"/>
              <a:t>. Duis </a:t>
            </a:r>
            <a:r>
              <a:rPr lang="fr-CA" err="1"/>
              <a:t>aute</a:t>
            </a:r>
            <a:r>
              <a:rPr lang="fr-CA"/>
              <a:t> </a:t>
            </a:r>
            <a:r>
              <a:rPr lang="fr-CA" err="1"/>
              <a:t>irure</a:t>
            </a:r>
            <a:r>
              <a:rPr lang="fr-CA"/>
              <a:t> </a:t>
            </a:r>
            <a:r>
              <a:rPr lang="fr-CA" err="1"/>
              <a:t>dolor</a:t>
            </a:r>
            <a:r>
              <a:rPr lang="fr-CA"/>
              <a:t> in </a:t>
            </a:r>
            <a:r>
              <a:rPr lang="fr-CA" err="1"/>
              <a:t>reprehenderit</a:t>
            </a:r>
            <a:r>
              <a:rPr lang="fr-CA"/>
              <a:t> in </a:t>
            </a:r>
            <a:r>
              <a:rPr lang="fr-CA" err="1"/>
              <a:t>voluptate</a:t>
            </a:r>
            <a:r>
              <a:rPr lang="fr-CA"/>
              <a:t> </a:t>
            </a:r>
            <a:r>
              <a:rPr lang="fr-CA" err="1"/>
              <a:t>velit</a:t>
            </a:r>
            <a:r>
              <a:rPr lang="fr-CA"/>
              <a:t> esse </a:t>
            </a:r>
            <a:r>
              <a:rPr lang="fr-CA" err="1"/>
              <a:t>cillum</a:t>
            </a:r>
            <a:r>
              <a:rPr lang="fr-CA"/>
              <a:t> </a:t>
            </a:r>
            <a:r>
              <a:rPr lang="fr-CA" err="1"/>
              <a:t>dolore</a:t>
            </a:r>
            <a:r>
              <a:rPr lang="fr-CA"/>
              <a:t> eu </a:t>
            </a:r>
            <a:r>
              <a:rPr lang="fr-CA" err="1"/>
              <a:t>fugiat</a:t>
            </a:r>
            <a:r>
              <a:rPr lang="fr-CA"/>
              <a:t> </a:t>
            </a:r>
            <a:r>
              <a:rPr lang="fr-CA" err="1"/>
              <a:t>nulla</a:t>
            </a:r>
            <a:r>
              <a:rPr lang="fr-CA"/>
              <a:t> </a:t>
            </a:r>
            <a:r>
              <a:rPr lang="fr-CA" err="1"/>
              <a:t>pariatur</a:t>
            </a:r>
            <a:r>
              <a:rPr lang="fr-CA"/>
              <a:t>. </a:t>
            </a:r>
            <a:r>
              <a:rPr lang="fr-CA" err="1"/>
              <a:t>Excepteur</a:t>
            </a:r>
            <a:r>
              <a:rPr lang="fr-CA"/>
              <a:t> </a:t>
            </a:r>
            <a:r>
              <a:rPr lang="fr-CA" err="1"/>
              <a:t>sint</a:t>
            </a:r>
            <a:r>
              <a:rPr lang="fr-CA"/>
              <a:t> </a:t>
            </a:r>
            <a:r>
              <a:rPr lang="fr-CA" err="1"/>
              <a:t>occaecat</a:t>
            </a:r>
            <a:r>
              <a:rPr lang="fr-CA"/>
              <a:t> </a:t>
            </a:r>
            <a:r>
              <a:rPr lang="fr-CA" err="1"/>
              <a:t>cupidatat</a:t>
            </a:r>
            <a:r>
              <a:rPr lang="fr-CA"/>
              <a:t> non </a:t>
            </a:r>
            <a:r>
              <a:rPr lang="fr-CA" err="1"/>
              <a:t>proident</a:t>
            </a:r>
            <a:r>
              <a:rPr lang="fr-CA"/>
              <a:t>, </a:t>
            </a:r>
            <a:r>
              <a:rPr lang="fr-CA" err="1"/>
              <a:t>sunt</a:t>
            </a:r>
            <a:r>
              <a:rPr lang="fr-CA"/>
              <a:t> in culpa qui officia </a:t>
            </a:r>
            <a:r>
              <a:rPr lang="fr-CA" err="1"/>
              <a:t>deserunt</a:t>
            </a:r>
            <a:r>
              <a:rPr lang="fr-CA"/>
              <a:t> mollit </a:t>
            </a:r>
            <a:r>
              <a:rPr lang="fr-CA" err="1"/>
              <a:t>anim</a:t>
            </a:r>
            <a:r>
              <a:rPr lang="fr-CA"/>
              <a:t> id est </a:t>
            </a:r>
            <a:r>
              <a:rPr lang="fr-CA" err="1"/>
              <a:t>laborum</a:t>
            </a:r>
            <a:r>
              <a:rPr lang="fr-CA"/>
              <a:t>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B2CF3F6-143C-8339-7D00-7CB0C54BDB74}"/>
              </a:ext>
            </a:extLst>
          </p:cNvPr>
          <p:cNvSpPr/>
          <p:nvPr userDrawn="1"/>
        </p:nvSpPr>
        <p:spPr>
          <a:xfrm>
            <a:off x="5315415" y="5471532"/>
            <a:ext cx="1405054" cy="1405054"/>
          </a:xfrm>
          <a:prstGeom prst="rect">
            <a:avLst/>
          </a:prstGeom>
          <a:solidFill>
            <a:srgbClr val="9AE6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12" name="Text Placeholder 17">
            <a:extLst>
              <a:ext uri="{FF2B5EF4-FFF2-40B4-BE49-F238E27FC236}">
                <a16:creationId xmlns:a16="http://schemas.microsoft.com/office/drawing/2014/main" id="{6E60CEAA-8DBA-D18F-0158-5686D7C9FA8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0375" y="1390642"/>
            <a:ext cx="4456113" cy="5844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lang="en-CA" sz="2000" b="1" i="0" u="none" strike="noStrike" cap="all" baseline="0">
                <a:solidFill>
                  <a:srgbClr val="00778C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fr-CA"/>
              <a:t>LOREM IPSUM DOLOR SI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CB6F09F-5D03-44BB-030A-71F803186E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759" y="6165850"/>
            <a:ext cx="984792" cy="292216"/>
          </a:xfrm>
          <a:prstGeom prst="rect">
            <a:avLst/>
          </a:prstGeom>
        </p:spPr>
      </p:pic>
      <p:sp>
        <p:nvSpPr>
          <p:cNvPr id="14" name="Title 8">
            <a:extLst>
              <a:ext uri="{FF2B5EF4-FFF2-40B4-BE49-F238E27FC236}">
                <a16:creationId xmlns:a16="http://schemas.microsoft.com/office/drawing/2014/main" id="{203A644F-D854-E9E9-C85F-AAA74B266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375" y="525600"/>
            <a:ext cx="3392159" cy="368554"/>
          </a:xfrm>
          <a:prstGeom prst="rect">
            <a:avLst/>
          </a:prstGeom>
        </p:spPr>
        <p:txBody>
          <a:bodyPr/>
          <a:lstStyle>
            <a:lvl1pPr>
              <a:defRPr sz="2000" b="1" cap="all" spc="0" baseline="0">
                <a:solidFill>
                  <a:srgbClr val="9AE6DA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/>
              <a:t>SECTION</a:t>
            </a:r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7586083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bg>
      <p:bgPr>
        <a:solidFill>
          <a:srgbClr val="E7F7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6D98507C-3730-7628-01B0-8A7055158897}"/>
              </a:ext>
            </a:extLst>
          </p:cNvPr>
          <p:cNvSpPr txBox="1"/>
          <p:nvPr userDrawn="1"/>
        </p:nvSpPr>
        <p:spPr>
          <a:xfrm>
            <a:off x="7445530" y="6165850"/>
            <a:ext cx="4026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7283CB3-05C1-3342-95EF-FE3FE8CCCB77}" type="slidenum">
              <a:rPr lang="fr-CA" sz="800" b="1" spc="0">
                <a:solidFill>
                  <a:srgbClr val="9AE6DA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‹n°›</a:t>
            </a:fld>
            <a:endParaRPr lang="fr-CA" sz="800" b="1" spc="0">
              <a:solidFill>
                <a:srgbClr val="9AE6DA"/>
              </a:solidFill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4E71E68F-66BC-53EE-86EF-2146E62806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30833" y="2733860"/>
            <a:ext cx="4456113" cy="15891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lang="en-CA" sz="1200" b="0" i="0" u="none" strike="noStrike">
                <a:solidFill>
                  <a:srgbClr val="00778C"/>
                </a:solidFill>
                <a:effectLst/>
              </a:defRPr>
            </a:lvl1pPr>
            <a:lvl2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fr-CA" err="1"/>
              <a:t>Consectetur</a:t>
            </a:r>
            <a:r>
              <a:rPr lang="fr-CA"/>
              <a:t> </a:t>
            </a:r>
            <a:r>
              <a:rPr lang="fr-CA" err="1"/>
              <a:t>adipiscing</a:t>
            </a:r>
            <a:r>
              <a:rPr lang="fr-CA"/>
              <a:t> </a:t>
            </a:r>
            <a:r>
              <a:rPr lang="fr-CA" err="1"/>
              <a:t>elit</a:t>
            </a:r>
            <a:r>
              <a:rPr lang="fr-CA"/>
              <a:t>, </a:t>
            </a:r>
            <a:r>
              <a:rPr lang="fr-CA" err="1"/>
              <a:t>sed</a:t>
            </a:r>
            <a:r>
              <a:rPr lang="fr-CA"/>
              <a:t> do </a:t>
            </a:r>
            <a:r>
              <a:rPr lang="fr-CA" err="1"/>
              <a:t>eiusmod</a:t>
            </a:r>
            <a:r>
              <a:rPr lang="fr-CA"/>
              <a:t> </a:t>
            </a:r>
            <a:r>
              <a:rPr lang="fr-CA" err="1"/>
              <a:t>tempor</a:t>
            </a:r>
            <a:r>
              <a:rPr lang="fr-CA"/>
              <a:t> </a:t>
            </a:r>
            <a:r>
              <a:rPr lang="fr-CA" err="1"/>
              <a:t>incididunt</a:t>
            </a:r>
            <a:r>
              <a:rPr lang="fr-CA"/>
              <a:t> ut </a:t>
            </a:r>
            <a:r>
              <a:rPr lang="fr-CA" err="1"/>
              <a:t>labore</a:t>
            </a:r>
            <a:r>
              <a:rPr lang="fr-CA"/>
              <a:t> et </a:t>
            </a:r>
            <a:r>
              <a:rPr lang="fr-CA" err="1"/>
              <a:t>dolore</a:t>
            </a:r>
            <a:r>
              <a:rPr lang="fr-CA"/>
              <a:t> magna </a:t>
            </a:r>
            <a:r>
              <a:rPr lang="fr-CA" err="1"/>
              <a:t>aliqua</a:t>
            </a:r>
            <a:r>
              <a:rPr lang="fr-CA"/>
              <a:t>. Ut </a:t>
            </a:r>
            <a:r>
              <a:rPr lang="fr-CA" err="1"/>
              <a:t>enim</a:t>
            </a:r>
            <a:r>
              <a:rPr lang="fr-CA"/>
              <a:t> ad </a:t>
            </a:r>
            <a:r>
              <a:rPr lang="fr-CA" err="1"/>
              <a:t>minim</a:t>
            </a:r>
            <a:r>
              <a:rPr lang="fr-CA"/>
              <a:t> </a:t>
            </a:r>
            <a:r>
              <a:rPr lang="fr-CA" err="1"/>
              <a:t>veniam</a:t>
            </a:r>
            <a:r>
              <a:rPr lang="fr-CA"/>
              <a:t>, </a:t>
            </a:r>
            <a:r>
              <a:rPr lang="fr-CA" err="1"/>
              <a:t>quis</a:t>
            </a:r>
            <a:r>
              <a:rPr lang="fr-CA"/>
              <a:t> </a:t>
            </a:r>
            <a:r>
              <a:rPr lang="fr-CA" err="1"/>
              <a:t>nostrud</a:t>
            </a:r>
            <a:r>
              <a:rPr lang="fr-CA"/>
              <a:t> </a:t>
            </a:r>
            <a:r>
              <a:rPr lang="fr-CA" err="1"/>
              <a:t>exercitation</a:t>
            </a:r>
            <a:r>
              <a:rPr lang="fr-CA"/>
              <a:t> </a:t>
            </a:r>
            <a:r>
              <a:rPr lang="fr-CA" err="1"/>
              <a:t>ullamco</a:t>
            </a:r>
            <a:r>
              <a:rPr lang="fr-CA"/>
              <a:t> </a:t>
            </a:r>
            <a:r>
              <a:rPr lang="fr-CA" err="1"/>
              <a:t>laboris</a:t>
            </a:r>
            <a:r>
              <a:rPr lang="fr-CA"/>
              <a:t> </a:t>
            </a:r>
            <a:r>
              <a:rPr lang="fr-CA" err="1"/>
              <a:t>nisi</a:t>
            </a:r>
            <a:r>
              <a:rPr lang="fr-CA"/>
              <a:t> ut </a:t>
            </a:r>
            <a:r>
              <a:rPr lang="fr-CA" err="1"/>
              <a:t>aliquip</a:t>
            </a:r>
            <a:r>
              <a:rPr lang="fr-CA"/>
              <a:t> ex </a:t>
            </a:r>
            <a:r>
              <a:rPr lang="fr-CA" err="1"/>
              <a:t>ea</a:t>
            </a:r>
            <a:r>
              <a:rPr lang="fr-CA"/>
              <a:t> commodo </a:t>
            </a:r>
            <a:r>
              <a:rPr lang="fr-CA" err="1"/>
              <a:t>consequat</a:t>
            </a:r>
            <a:r>
              <a:rPr lang="fr-CA"/>
              <a:t>. Duis </a:t>
            </a:r>
            <a:r>
              <a:rPr lang="fr-CA" err="1"/>
              <a:t>aute</a:t>
            </a:r>
            <a:r>
              <a:rPr lang="fr-CA"/>
              <a:t> </a:t>
            </a:r>
            <a:r>
              <a:rPr lang="fr-CA" err="1"/>
              <a:t>irure</a:t>
            </a:r>
            <a:r>
              <a:rPr lang="fr-CA"/>
              <a:t> </a:t>
            </a:r>
            <a:r>
              <a:rPr lang="fr-CA" err="1"/>
              <a:t>dolor</a:t>
            </a:r>
            <a:r>
              <a:rPr lang="fr-CA"/>
              <a:t> in </a:t>
            </a:r>
            <a:r>
              <a:rPr lang="fr-CA" err="1"/>
              <a:t>reprehenderit</a:t>
            </a:r>
            <a:r>
              <a:rPr lang="fr-CA"/>
              <a:t> in </a:t>
            </a:r>
            <a:r>
              <a:rPr lang="fr-CA" err="1"/>
              <a:t>voluptate</a:t>
            </a:r>
            <a:r>
              <a:rPr lang="fr-CA"/>
              <a:t> </a:t>
            </a:r>
            <a:r>
              <a:rPr lang="fr-CA" err="1"/>
              <a:t>velit</a:t>
            </a:r>
            <a:r>
              <a:rPr lang="fr-CA"/>
              <a:t> esse </a:t>
            </a:r>
            <a:r>
              <a:rPr lang="fr-CA" err="1"/>
              <a:t>cillum</a:t>
            </a:r>
            <a:r>
              <a:rPr lang="fr-CA"/>
              <a:t> </a:t>
            </a:r>
            <a:r>
              <a:rPr lang="fr-CA" err="1"/>
              <a:t>dolore</a:t>
            </a:r>
            <a:r>
              <a:rPr lang="fr-CA"/>
              <a:t> eu </a:t>
            </a:r>
            <a:r>
              <a:rPr lang="fr-CA" err="1"/>
              <a:t>fugiat</a:t>
            </a:r>
            <a:r>
              <a:rPr lang="fr-CA"/>
              <a:t> </a:t>
            </a:r>
            <a:r>
              <a:rPr lang="fr-CA" err="1"/>
              <a:t>nulla</a:t>
            </a:r>
            <a:r>
              <a:rPr lang="fr-CA"/>
              <a:t> </a:t>
            </a:r>
            <a:r>
              <a:rPr lang="fr-CA" err="1"/>
              <a:t>pariatur</a:t>
            </a:r>
            <a:r>
              <a:rPr lang="fr-CA"/>
              <a:t>. </a:t>
            </a:r>
            <a:r>
              <a:rPr lang="fr-CA" err="1"/>
              <a:t>Excepteur</a:t>
            </a:r>
            <a:r>
              <a:rPr lang="fr-CA"/>
              <a:t> </a:t>
            </a:r>
            <a:r>
              <a:rPr lang="fr-CA" err="1"/>
              <a:t>sint</a:t>
            </a:r>
            <a:r>
              <a:rPr lang="fr-CA"/>
              <a:t> </a:t>
            </a:r>
            <a:r>
              <a:rPr lang="fr-CA" err="1"/>
              <a:t>occaecat</a:t>
            </a:r>
            <a:r>
              <a:rPr lang="fr-CA"/>
              <a:t> </a:t>
            </a:r>
            <a:r>
              <a:rPr lang="fr-CA" err="1"/>
              <a:t>cupidatat</a:t>
            </a:r>
            <a:r>
              <a:rPr lang="fr-CA"/>
              <a:t> non </a:t>
            </a:r>
            <a:r>
              <a:rPr lang="fr-CA" err="1"/>
              <a:t>proident</a:t>
            </a:r>
            <a:r>
              <a:rPr lang="fr-CA"/>
              <a:t>, </a:t>
            </a:r>
            <a:r>
              <a:rPr lang="fr-CA" err="1"/>
              <a:t>sunt</a:t>
            </a:r>
            <a:r>
              <a:rPr lang="fr-CA"/>
              <a:t> in culpa qui officia </a:t>
            </a:r>
            <a:r>
              <a:rPr lang="fr-CA" err="1"/>
              <a:t>deserunt</a:t>
            </a:r>
            <a:r>
              <a:rPr lang="fr-CA"/>
              <a:t> mollit </a:t>
            </a:r>
            <a:r>
              <a:rPr lang="fr-CA" err="1"/>
              <a:t>anim</a:t>
            </a:r>
            <a:r>
              <a:rPr lang="fr-CA"/>
              <a:t> id est </a:t>
            </a:r>
            <a:r>
              <a:rPr lang="fr-CA" err="1"/>
              <a:t>laborum</a:t>
            </a:r>
            <a:r>
              <a:rPr lang="fr-CA"/>
              <a:t>.</a:t>
            </a:r>
          </a:p>
        </p:txBody>
      </p:sp>
      <p:sp>
        <p:nvSpPr>
          <p:cNvPr id="12" name="Text Placeholder 17">
            <a:extLst>
              <a:ext uri="{FF2B5EF4-FFF2-40B4-BE49-F238E27FC236}">
                <a16:creationId xmlns:a16="http://schemas.microsoft.com/office/drawing/2014/main" id="{6E60CEAA-8DBA-D18F-0158-5686D7C9FA8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30833" y="2011965"/>
            <a:ext cx="4456113" cy="5844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lang="en-CA" sz="2000" b="1" i="0" u="none" strike="noStrike" cap="all" baseline="0">
                <a:solidFill>
                  <a:srgbClr val="00778C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fr-CA"/>
              <a:t>LOREM IPSUM DOLOR SI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CB6F09F-5D03-44BB-030A-71F803186E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759" y="6165850"/>
            <a:ext cx="984792" cy="292216"/>
          </a:xfrm>
          <a:prstGeom prst="rect">
            <a:avLst/>
          </a:prstGeom>
        </p:spPr>
      </p:pic>
      <p:sp>
        <p:nvSpPr>
          <p:cNvPr id="14" name="Title 8">
            <a:extLst>
              <a:ext uri="{FF2B5EF4-FFF2-40B4-BE49-F238E27FC236}">
                <a16:creationId xmlns:a16="http://schemas.microsoft.com/office/drawing/2014/main" id="{203A644F-D854-E9E9-C85F-AAA74B266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375" y="525600"/>
            <a:ext cx="3392159" cy="368554"/>
          </a:xfrm>
          <a:prstGeom prst="rect">
            <a:avLst/>
          </a:prstGeom>
        </p:spPr>
        <p:txBody>
          <a:bodyPr/>
          <a:lstStyle>
            <a:lvl1pPr>
              <a:defRPr sz="2000" b="1" cap="all" spc="0" baseline="0">
                <a:solidFill>
                  <a:srgbClr val="9AE6DA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/>
              <a:t>SECTION</a:t>
            </a:r>
            <a:endParaRPr lang="fr-CA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AC9C070-3EC8-89EB-F5D0-4D3690E488B8}"/>
              </a:ext>
            </a:extLst>
          </p:cNvPr>
          <p:cNvSpPr/>
          <p:nvPr userDrawn="1"/>
        </p:nvSpPr>
        <p:spPr>
          <a:xfrm>
            <a:off x="10786946" y="0"/>
            <a:ext cx="1405054" cy="1405054"/>
          </a:xfrm>
          <a:prstGeom prst="rect">
            <a:avLst/>
          </a:prstGeom>
          <a:solidFill>
            <a:srgbClr val="0077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0FA3194-BDAA-11C9-3B65-169102D27D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759" y="6165850"/>
            <a:ext cx="984792" cy="292216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51A1A765-9EC7-6A61-0FD8-C6BC7BBB917B}"/>
              </a:ext>
            </a:extLst>
          </p:cNvPr>
          <p:cNvSpPr txBox="1"/>
          <p:nvPr userDrawn="1"/>
        </p:nvSpPr>
        <p:spPr>
          <a:xfrm>
            <a:off x="7445530" y="6165850"/>
            <a:ext cx="4026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7283CB3-05C1-3342-95EF-FE3FE8CCCB77}" type="slidenum">
              <a:rPr lang="fr-CA" sz="800" b="1" spc="0">
                <a:solidFill>
                  <a:srgbClr val="00778C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‹n°›</a:t>
            </a:fld>
            <a:endParaRPr lang="fr-CA" sz="800" b="1" spc="0">
              <a:solidFill>
                <a:srgbClr val="00778C"/>
              </a:solidFill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91E11208-35E2-C824-A282-7BD09E386D5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95325" y="1405054"/>
            <a:ext cx="4963462" cy="4559486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rgbClr val="9AE6DA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fr-CA"/>
              <a:t>Cliquer ici pour insérer une photo</a:t>
            </a:r>
          </a:p>
        </p:txBody>
      </p:sp>
    </p:spTree>
    <p:extLst>
      <p:ext uri="{BB962C8B-B14F-4D97-AF65-F5344CB8AC3E}">
        <p14:creationId xmlns:p14="http://schemas.microsoft.com/office/powerpoint/2010/main" val="36321708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Pr>
        <a:solidFill>
          <a:srgbClr val="E7F7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6D98507C-3730-7628-01B0-8A7055158897}"/>
              </a:ext>
            </a:extLst>
          </p:cNvPr>
          <p:cNvSpPr txBox="1"/>
          <p:nvPr userDrawn="1"/>
        </p:nvSpPr>
        <p:spPr>
          <a:xfrm>
            <a:off x="7445530" y="6165850"/>
            <a:ext cx="4026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7283CB3-05C1-3342-95EF-FE3FE8CCCB77}" type="slidenum">
              <a:rPr lang="fr-CA" sz="800" b="1" spc="0">
                <a:solidFill>
                  <a:srgbClr val="9AE6DA"/>
                </a:solidFill>
                <a:latin typeface="Roboto" panose="02000000000000000000" pitchFamily="2" charset="0"/>
                <a:ea typeface="Roboto" panose="02000000000000000000" pitchFamily="2" charset="0"/>
                <a:cs typeface="Arial" panose="020B0604020202020204" pitchFamily="34" charset="0"/>
              </a:rPr>
              <a:t>‹n°›</a:t>
            </a:fld>
            <a:endParaRPr lang="fr-CA" sz="800" b="1" spc="0">
              <a:solidFill>
                <a:srgbClr val="9AE6DA"/>
              </a:solidFill>
              <a:latin typeface="Roboto" panose="02000000000000000000" pitchFamily="2" charset="0"/>
              <a:ea typeface="Roboto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9" name="Text Placeholder 17">
            <a:extLst>
              <a:ext uri="{FF2B5EF4-FFF2-40B4-BE49-F238E27FC236}">
                <a16:creationId xmlns:a16="http://schemas.microsoft.com/office/drawing/2014/main" id="{4E71E68F-66BC-53EE-86EF-2146E62806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375" y="2495597"/>
            <a:ext cx="4456113" cy="15891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lang="en-CA" sz="1200" b="0" i="0" u="none" strike="noStrike">
                <a:solidFill>
                  <a:srgbClr val="00778C"/>
                </a:solidFill>
                <a:effectLst/>
              </a:defRPr>
            </a:lvl1pPr>
            <a:lvl2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fr-CA" err="1"/>
              <a:t>Consectetur</a:t>
            </a:r>
            <a:r>
              <a:rPr lang="fr-CA"/>
              <a:t> </a:t>
            </a:r>
            <a:r>
              <a:rPr lang="fr-CA" err="1"/>
              <a:t>adipiscing</a:t>
            </a:r>
            <a:r>
              <a:rPr lang="fr-CA"/>
              <a:t> </a:t>
            </a:r>
            <a:r>
              <a:rPr lang="fr-CA" err="1"/>
              <a:t>elit</a:t>
            </a:r>
            <a:r>
              <a:rPr lang="fr-CA"/>
              <a:t>, </a:t>
            </a:r>
            <a:r>
              <a:rPr lang="fr-CA" err="1"/>
              <a:t>sed</a:t>
            </a:r>
            <a:r>
              <a:rPr lang="fr-CA"/>
              <a:t> do </a:t>
            </a:r>
            <a:r>
              <a:rPr lang="fr-CA" err="1"/>
              <a:t>eiusmod</a:t>
            </a:r>
            <a:r>
              <a:rPr lang="fr-CA"/>
              <a:t> </a:t>
            </a:r>
            <a:r>
              <a:rPr lang="fr-CA" err="1"/>
              <a:t>tempor</a:t>
            </a:r>
            <a:r>
              <a:rPr lang="fr-CA"/>
              <a:t> </a:t>
            </a:r>
            <a:r>
              <a:rPr lang="fr-CA" err="1"/>
              <a:t>incididunt</a:t>
            </a:r>
            <a:r>
              <a:rPr lang="fr-CA"/>
              <a:t> ut </a:t>
            </a:r>
            <a:r>
              <a:rPr lang="fr-CA" err="1"/>
              <a:t>labore</a:t>
            </a:r>
            <a:r>
              <a:rPr lang="fr-CA"/>
              <a:t> et </a:t>
            </a:r>
            <a:r>
              <a:rPr lang="fr-CA" err="1"/>
              <a:t>dolore</a:t>
            </a:r>
            <a:r>
              <a:rPr lang="fr-CA"/>
              <a:t> magna </a:t>
            </a:r>
            <a:r>
              <a:rPr lang="fr-CA" err="1"/>
              <a:t>aliqua</a:t>
            </a:r>
            <a:r>
              <a:rPr lang="fr-CA"/>
              <a:t>. Ut </a:t>
            </a:r>
            <a:r>
              <a:rPr lang="fr-CA" err="1"/>
              <a:t>enim</a:t>
            </a:r>
            <a:r>
              <a:rPr lang="fr-CA"/>
              <a:t> ad </a:t>
            </a:r>
            <a:r>
              <a:rPr lang="fr-CA" err="1"/>
              <a:t>minim</a:t>
            </a:r>
            <a:r>
              <a:rPr lang="fr-CA"/>
              <a:t> </a:t>
            </a:r>
            <a:r>
              <a:rPr lang="fr-CA" err="1"/>
              <a:t>veniam</a:t>
            </a:r>
            <a:r>
              <a:rPr lang="fr-CA"/>
              <a:t>, </a:t>
            </a:r>
            <a:r>
              <a:rPr lang="fr-CA" err="1"/>
              <a:t>quis</a:t>
            </a:r>
            <a:r>
              <a:rPr lang="fr-CA"/>
              <a:t> </a:t>
            </a:r>
            <a:r>
              <a:rPr lang="fr-CA" err="1"/>
              <a:t>nostrud</a:t>
            </a:r>
            <a:r>
              <a:rPr lang="fr-CA"/>
              <a:t> </a:t>
            </a:r>
            <a:r>
              <a:rPr lang="fr-CA" err="1"/>
              <a:t>exercitation</a:t>
            </a:r>
            <a:r>
              <a:rPr lang="fr-CA"/>
              <a:t> </a:t>
            </a:r>
            <a:r>
              <a:rPr lang="fr-CA" err="1"/>
              <a:t>ullamco</a:t>
            </a:r>
            <a:r>
              <a:rPr lang="fr-CA"/>
              <a:t> </a:t>
            </a:r>
            <a:r>
              <a:rPr lang="fr-CA" err="1"/>
              <a:t>laboris</a:t>
            </a:r>
            <a:r>
              <a:rPr lang="fr-CA"/>
              <a:t> </a:t>
            </a:r>
            <a:r>
              <a:rPr lang="fr-CA" err="1"/>
              <a:t>nisi</a:t>
            </a:r>
            <a:r>
              <a:rPr lang="fr-CA"/>
              <a:t> ut </a:t>
            </a:r>
            <a:r>
              <a:rPr lang="fr-CA" err="1"/>
              <a:t>aliquip</a:t>
            </a:r>
            <a:r>
              <a:rPr lang="fr-CA"/>
              <a:t> ex </a:t>
            </a:r>
            <a:r>
              <a:rPr lang="fr-CA" err="1"/>
              <a:t>ea</a:t>
            </a:r>
            <a:r>
              <a:rPr lang="fr-CA"/>
              <a:t> commodo </a:t>
            </a:r>
            <a:r>
              <a:rPr lang="fr-CA" err="1"/>
              <a:t>consequat</a:t>
            </a:r>
            <a:r>
              <a:rPr lang="fr-CA"/>
              <a:t>. Duis </a:t>
            </a:r>
            <a:r>
              <a:rPr lang="fr-CA" err="1"/>
              <a:t>aute</a:t>
            </a:r>
            <a:r>
              <a:rPr lang="fr-CA"/>
              <a:t> </a:t>
            </a:r>
            <a:r>
              <a:rPr lang="fr-CA" err="1"/>
              <a:t>irure</a:t>
            </a:r>
            <a:r>
              <a:rPr lang="fr-CA"/>
              <a:t> </a:t>
            </a:r>
            <a:r>
              <a:rPr lang="fr-CA" err="1"/>
              <a:t>dolor</a:t>
            </a:r>
            <a:r>
              <a:rPr lang="fr-CA"/>
              <a:t> in </a:t>
            </a:r>
            <a:r>
              <a:rPr lang="fr-CA" err="1"/>
              <a:t>reprehenderit</a:t>
            </a:r>
            <a:r>
              <a:rPr lang="fr-CA"/>
              <a:t> in </a:t>
            </a:r>
            <a:r>
              <a:rPr lang="fr-CA" err="1"/>
              <a:t>voluptate</a:t>
            </a:r>
            <a:r>
              <a:rPr lang="fr-CA"/>
              <a:t> </a:t>
            </a:r>
            <a:r>
              <a:rPr lang="fr-CA" err="1"/>
              <a:t>velit</a:t>
            </a:r>
            <a:r>
              <a:rPr lang="fr-CA"/>
              <a:t> esse </a:t>
            </a:r>
            <a:r>
              <a:rPr lang="fr-CA" err="1"/>
              <a:t>cillum</a:t>
            </a:r>
            <a:r>
              <a:rPr lang="fr-CA"/>
              <a:t> </a:t>
            </a:r>
            <a:r>
              <a:rPr lang="fr-CA" err="1"/>
              <a:t>dolore</a:t>
            </a:r>
            <a:r>
              <a:rPr lang="fr-CA"/>
              <a:t> eu </a:t>
            </a:r>
            <a:r>
              <a:rPr lang="fr-CA" err="1"/>
              <a:t>fugiat</a:t>
            </a:r>
            <a:r>
              <a:rPr lang="fr-CA"/>
              <a:t> </a:t>
            </a:r>
            <a:r>
              <a:rPr lang="fr-CA" err="1"/>
              <a:t>nulla</a:t>
            </a:r>
            <a:r>
              <a:rPr lang="fr-CA"/>
              <a:t> </a:t>
            </a:r>
            <a:r>
              <a:rPr lang="fr-CA" err="1"/>
              <a:t>pariatur</a:t>
            </a:r>
            <a:r>
              <a:rPr lang="fr-CA"/>
              <a:t>. </a:t>
            </a:r>
            <a:r>
              <a:rPr lang="fr-CA" err="1"/>
              <a:t>Excepteur</a:t>
            </a:r>
            <a:r>
              <a:rPr lang="fr-CA"/>
              <a:t> </a:t>
            </a:r>
            <a:r>
              <a:rPr lang="fr-CA" err="1"/>
              <a:t>sint</a:t>
            </a:r>
            <a:r>
              <a:rPr lang="fr-CA"/>
              <a:t> </a:t>
            </a:r>
            <a:r>
              <a:rPr lang="fr-CA" err="1"/>
              <a:t>occaecat</a:t>
            </a:r>
            <a:r>
              <a:rPr lang="fr-CA"/>
              <a:t> </a:t>
            </a:r>
            <a:r>
              <a:rPr lang="fr-CA" err="1"/>
              <a:t>cupidatat</a:t>
            </a:r>
            <a:r>
              <a:rPr lang="fr-CA"/>
              <a:t> non </a:t>
            </a:r>
            <a:r>
              <a:rPr lang="fr-CA" err="1"/>
              <a:t>proident</a:t>
            </a:r>
            <a:r>
              <a:rPr lang="fr-CA"/>
              <a:t>, </a:t>
            </a:r>
            <a:r>
              <a:rPr lang="fr-CA" err="1"/>
              <a:t>sunt</a:t>
            </a:r>
            <a:r>
              <a:rPr lang="fr-CA"/>
              <a:t> in culpa qui officia </a:t>
            </a:r>
            <a:r>
              <a:rPr lang="fr-CA" err="1"/>
              <a:t>deserunt</a:t>
            </a:r>
            <a:r>
              <a:rPr lang="fr-CA"/>
              <a:t> mollit </a:t>
            </a:r>
            <a:r>
              <a:rPr lang="fr-CA" err="1"/>
              <a:t>anim</a:t>
            </a:r>
            <a:r>
              <a:rPr lang="fr-CA"/>
              <a:t> id est </a:t>
            </a:r>
            <a:r>
              <a:rPr lang="fr-CA" err="1"/>
              <a:t>laborum</a:t>
            </a:r>
            <a:r>
              <a:rPr lang="fr-CA"/>
              <a:t>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B2CF3F6-143C-8339-7D00-7CB0C54BDB74}"/>
              </a:ext>
            </a:extLst>
          </p:cNvPr>
          <p:cNvSpPr/>
          <p:nvPr userDrawn="1"/>
        </p:nvSpPr>
        <p:spPr>
          <a:xfrm>
            <a:off x="10786946" y="-14412"/>
            <a:ext cx="1405054" cy="1405054"/>
          </a:xfrm>
          <a:prstGeom prst="rect">
            <a:avLst/>
          </a:prstGeom>
          <a:solidFill>
            <a:srgbClr val="9AE6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12" name="Text Placeholder 17">
            <a:extLst>
              <a:ext uri="{FF2B5EF4-FFF2-40B4-BE49-F238E27FC236}">
                <a16:creationId xmlns:a16="http://schemas.microsoft.com/office/drawing/2014/main" id="{6E60CEAA-8DBA-D18F-0158-5686D7C9FA8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0375" y="1773702"/>
            <a:ext cx="4456113" cy="5844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lang="en-CA" sz="2000" b="1" i="0" u="none" strike="noStrike" cap="all" baseline="0">
                <a:solidFill>
                  <a:srgbClr val="00778C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fr-CA"/>
              <a:t>LOREM IPSUM DOLOR SIT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CB6F09F-5D03-44BB-030A-71F803186E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759" y="6165850"/>
            <a:ext cx="984792" cy="292216"/>
          </a:xfrm>
          <a:prstGeom prst="rect">
            <a:avLst/>
          </a:prstGeom>
        </p:spPr>
      </p:pic>
      <p:sp>
        <p:nvSpPr>
          <p:cNvPr id="14" name="Title 8">
            <a:extLst>
              <a:ext uri="{FF2B5EF4-FFF2-40B4-BE49-F238E27FC236}">
                <a16:creationId xmlns:a16="http://schemas.microsoft.com/office/drawing/2014/main" id="{203A644F-D854-E9E9-C85F-AAA74B266C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375" y="525600"/>
            <a:ext cx="3392159" cy="368554"/>
          </a:xfrm>
          <a:prstGeom prst="rect">
            <a:avLst/>
          </a:prstGeom>
        </p:spPr>
        <p:txBody>
          <a:bodyPr/>
          <a:lstStyle>
            <a:lvl1pPr>
              <a:defRPr sz="2000" b="1" spc="0">
                <a:solidFill>
                  <a:srgbClr val="9AE6DA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/>
              <a:t>SECTION</a:t>
            </a:r>
            <a:endParaRPr lang="fr-CA"/>
          </a:p>
        </p:txBody>
      </p:sp>
      <p:sp>
        <p:nvSpPr>
          <p:cNvPr id="4" name="Text Placeholder 17">
            <a:extLst>
              <a:ext uri="{FF2B5EF4-FFF2-40B4-BE49-F238E27FC236}">
                <a16:creationId xmlns:a16="http://schemas.microsoft.com/office/drawing/2014/main" id="{4016FFB9-56A4-D1BA-C722-B963FA4F24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30833" y="2495597"/>
            <a:ext cx="4456113" cy="15891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50000"/>
              </a:lnSpc>
              <a:buNone/>
              <a:defRPr lang="en-CA" sz="1200" b="0" i="0" u="none" strike="noStrike">
                <a:solidFill>
                  <a:srgbClr val="00778C"/>
                </a:solidFill>
                <a:effectLst/>
              </a:defRPr>
            </a:lvl1pPr>
            <a:lvl2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fr-CA" err="1"/>
              <a:t>Consectetur</a:t>
            </a:r>
            <a:r>
              <a:rPr lang="fr-CA"/>
              <a:t> </a:t>
            </a:r>
            <a:r>
              <a:rPr lang="fr-CA" err="1"/>
              <a:t>adipiscing</a:t>
            </a:r>
            <a:r>
              <a:rPr lang="fr-CA"/>
              <a:t> </a:t>
            </a:r>
            <a:r>
              <a:rPr lang="fr-CA" err="1"/>
              <a:t>elit</a:t>
            </a:r>
            <a:r>
              <a:rPr lang="fr-CA"/>
              <a:t>, </a:t>
            </a:r>
            <a:r>
              <a:rPr lang="fr-CA" err="1"/>
              <a:t>sed</a:t>
            </a:r>
            <a:r>
              <a:rPr lang="fr-CA"/>
              <a:t> do </a:t>
            </a:r>
            <a:r>
              <a:rPr lang="fr-CA" err="1"/>
              <a:t>eiusmod</a:t>
            </a:r>
            <a:r>
              <a:rPr lang="fr-CA"/>
              <a:t> </a:t>
            </a:r>
            <a:r>
              <a:rPr lang="fr-CA" err="1"/>
              <a:t>tempor</a:t>
            </a:r>
            <a:r>
              <a:rPr lang="fr-CA"/>
              <a:t> </a:t>
            </a:r>
            <a:r>
              <a:rPr lang="fr-CA" err="1"/>
              <a:t>incididunt</a:t>
            </a:r>
            <a:r>
              <a:rPr lang="fr-CA"/>
              <a:t> ut </a:t>
            </a:r>
            <a:r>
              <a:rPr lang="fr-CA" err="1"/>
              <a:t>labore</a:t>
            </a:r>
            <a:r>
              <a:rPr lang="fr-CA"/>
              <a:t> et </a:t>
            </a:r>
            <a:r>
              <a:rPr lang="fr-CA" err="1"/>
              <a:t>dolore</a:t>
            </a:r>
            <a:r>
              <a:rPr lang="fr-CA"/>
              <a:t> magna </a:t>
            </a:r>
            <a:r>
              <a:rPr lang="fr-CA" err="1"/>
              <a:t>aliqua</a:t>
            </a:r>
            <a:r>
              <a:rPr lang="fr-CA"/>
              <a:t>. Ut </a:t>
            </a:r>
            <a:r>
              <a:rPr lang="fr-CA" err="1"/>
              <a:t>enim</a:t>
            </a:r>
            <a:r>
              <a:rPr lang="fr-CA"/>
              <a:t> ad </a:t>
            </a:r>
            <a:r>
              <a:rPr lang="fr-CA" err="1"/>
              <a:t>minim</a:t>
            </a:r>
            <a:r>
              <a:rPr lang="fr-CA"/>
              <a:t> </a:t>
            </a:r>
            <a:r>
              <a:rPr lang="fr-CA" err="1"/>
              <a:t>veniam</a:t>
            </a:r>
            <a:r>
              <a:rPr lang="fr-CA"/>
              <a:t>, </a:t>
            </a:r>
            <a:r>
              <a:rPr lang="fr-CA" err="1"/>
              <a:t>quis</a:t>
            </a:r>
            <a:r>
              <a:rPr lang="fr-CA"/>
              <a:t> </a:t>
            </a:r>
            <a:r>
              <a:rPr lang="fr-CA" err="1"/>
              <a:t>nostrud</a:t>
            </a:r>
            <a:r>
              <a:rPr lang="fr-CA"/>
              <a:t> </a:t>
            </a:r>
            <a:r>
              <a:rPr lang="fr-CA" err="1"/>
              <a:t>exercitation</a:t>
            </a:r>
            <a:r>
              <a:rPr lang="fr-CA"/>
              <a:t> </a:t>
            </a:r>
            <a:r>
              <a:rPr lang="fr-CA" err="1"/>
              <a:t>ullamco</a:t>
            </a:r>
            <a:r>
              <a:rPr lang="fr-CA"/>
              <a:t> </a:t>
            </a:r>
            <a:r>
              <a:rPr lang="fr-CA" err="1"/>
              <a:t>laboris</a:t>
            </a:r>
            <a:r>
              <a:rPr lang="fr-CA"/>
              <a:t> </a:t>
            </a:r>
            <a:r>
              <a:rPr lang="fr-CA" err="1"/>
              <a:t>nisi</a:t>
            </a:r>
            <a:r>
              <a:rPr lang="fr-CA"/>
              <a:t> ut </a:t>
            </a:r>
            <a:r>
              <a:rPr lang="fr-CA" err="1"/>
              <a:t>aliquip</a:t>
            </a:r>
            <a:r>
              <a:rPr lang="fr-CA"/>
              <a:t> ex </a:t>
            </a:r>
            <a:r>
              <a:rPr lang="fr-CA" err="1"/>
              <a:t>ea</a:t>
            </a:r>
            <a:r>
              <a:rPr lang="fr-CA"/>
              <a:t> commodo </a:t>
            </a:r>
            <a:r>
              <a:rPr lang="fr-CA" err="1"/>
              <a:t>consequat</a:t>
            </a:r>
            <a:r>
              <a:rPr lang="fr-CA"/>
              <a:t>. Duis </a:t>
            </a:r>
            <a:r>
              <a:rPr lang="fr-CA" err="1"/>
              <a:t>aute</a:t>
            </a:r>
            <a:r>
              <a:rPr lang="fr-CA"/>
              <a:t> </a:t>
            </a:r>
            <a:r>
              <a:rPr lang="fr-CA" err="1"/>
              <a:t>irure</a:t>
            </a:r>
            <a:r>
              <a:rPr lang="fr-CA"/>
              <a:t> </a:t>
            </a:r>
            <a:r>
              <a:rPr lang="fr-CA" err="1"/>
              <a:t>dolor</a:t>
            </a:r>
            <a:r>
              <a:rPr lang="fr-CA"/>
              <a:t> in </a:t>
            </a:r>
            <a:r>
              <a:rPr lang="fr-CA" err="1"/>
              <a:t>reprehenderit</a:t>
            </a:r>
            <a:r>
              <a:rPr lang="fr-CA"/>
              <a:t> in </a:t>
            </a:r>
            <a:r>
              <a:rPr lang="fr-CA" err="1"/>
              <a:t>voluptate</a:t>
            </a:r>
            <a:r>
              <a:rPr lang="fr-CA"/>
              <a:t> </a:t>
            </a:r>
            <a:r>
              <a:rPr lang="fr-CA" err="1"/>
              <a:t>velit</a:t>
            </a:r>
            <a:r>
              <a:rPr lang="fr-CA"/>
              <a:t> esse </a:t>
            </a:r>
            <a:r>
              <a:rPr lang="fr-CA" err="1"/>
              <a:t>cillum</a:t>
            </a:r>
            <a:r>
              <a:rPr lang="fr-CA"/>
              <a:t> </a:t>
            </a:r>
            <a:r>
              <a:rPr lang="fr-CA" err="1"/>
              <a:t>dolore</a:t>
            </a:r>
            <a:r>
              <a:rPr lang="fr-CA"/>
              <a:t> eu </a:t>
            </a:r>
            <a:r>
              <a:rPr lang="fr-CA" err="1"/>
              <a:t>fugiat</a:t>
            </a:r>
            <a:r>
              <a:rPr lang="fr-CA"/>
              <a:t> </a:t>
            </a:r>
            <a:r>
              <a:rPr lang="fr-CA" err="1"/>
              <a:t>nulla</a:t>
            </a:r>
            <a:r>
              <a:rPr lang="fr-CA"/>
              <a:t> </a:t>
            </a:r>
            <a:r>
              <a:rPr lang="fr-CA" err="1"/>
              <a:t>pariatur</a:t>
            </a:r>
            <a:r>
              <a:rPr lang="fr-CA"/>
              <a:t>. </a:t>
            </a:r>
            <a:r>
              <a:rPr lang="fr-CA" err="1"/>
              <a:t>Excepteur</a:t>
            </a:r>
            <a:r>
              <a:rPr lang="fr-CA"/>
              <a:t> </a:t>
            </a:r>
            <a:r>
              <a:rPr lang="fr-CA" err="1"/>
              <a:t>sint</a:t>
            </a:r>
            <a:r>
              <a:rPr lang="fr-CA"/>
              <a:t> </a:t>
            </a:r>
            <a:r>
              <a:rPr lang="fr-CA" err="1"/>
              <a:t>occaecat</a:t>
            </a:r>
            <a:r>
              <a:rPr lang="fr-CA"/>
              <a:t> </a:t>
            </a:r>
            <a:r>
              <a:rPr lang="fr-CA" err="1"/>
              <a:t>cupidatat</a:t>
            </a:r>
            <a:r>
              <a:rPr lang="fr-CA"/>
              <a:t> non </a:t>
            </a:r>
            <a:r>
              <a:rPr lang="fr-CA" err="1"/>
              <a:t>proident</a:t>
            </a:r>
            <a:r>
              <a:rPr lang="fr-CA"/>
              <a:t>, </a:t>
            </a:r>
            <a:r>
              <a:rPr lang="fr-CA" err="1"/>
              <a:t>sunt</a:t>
            </a:r>
            <a:r>
              <a:rPr lang="fr-CA"/>
              <a:t> in culpa qui officia </a:t>
            </a:r>
            <a:r>
              <a:rPr lang="fr-CA" err="1"/>
              <a:t>deserunt</a:t>
            </a:r>
            <a:r>
              <a:rPr lang="fr-CA"/>
              <a:t> mollit </a:t>
            </a:r>
            <a:r>
              <a:rPr lang="fr-CA" err="1"/>
              <a:t>anim</a:t>
            </a:r>
            <a:r>
              <a:rPr lang="fr-CA"/>
              <a:t> id est </a:t>
            </a:r>
            <a:r>
              <a:rPr lang="fr-CA" err="1"/>
              <a:t>laborum</a:t>
            </a:r>
            <a:r>
              <a:rPr lang="fr-CA"/>
              <a:t>.</a:t>
            </a:r>
          </a:p>
        </p:txBody>
      </p:sp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3314AAE0-78D9-C4DF-49D0-02768CF941D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30833" y="1773702"/>
            <a:ext cx="4456113" cy="5844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lang="en-CA" sz="2000" b="1" i="0" u="none" strike="noStrike" cap="all" baseline="0">
                <a:solidFill>
                  <a:srgbClr val="00778C"/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2pPr>
            <a:lvl3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3pPr>
            <a:lvl4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4pPr>
            <a:lvl5pPr>
              <a:defRPr sz="1600" b="0" i="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5pPr>
          </a:lstStyle>
          <a:p>
            <a:pPr lvl="0"/>
            <a:r>
              <a:rPr lang="fr-CA"/>
              <a:t>LOREM IPSUM DOLOR SIT</a:t>
            </a:r>
          </a:p>
        </p:txBody>
      </p:sp>
    </p:spTree>
    <p:extLst>
      <p:ext uri="{BB962C8B-B14F-4D97-AF65-F5344CB8AC3E}">
        <p14:creationId xmlns:p14="http://schemas.microsoft.com/office/powerpoint/2010/main" val="35286773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9915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81" r:id="rId2"/>
    <p:sldLayoutId id="2147483677" r:id="rId3"/>
    <p:sldLayoutId id="2147483682" r:id="rId4"/>
    <p:sldLayoutId id="2147483685" r:id="rId5"/>
    <p:sldLayoutId id="2147483679" r:id="rId6"/>
    <p:sldLayoutId id="2147483678" r:id="rId7"/>
    <p:sldLayoutId id="2147483684" r:id="rId8"/>
    <p:sldLayoutId id="2147483680" r:id="rId9"/>
    <p:sldLayoutId id="2147483683" r:id="rId10"/>
    <p:sldLayoutId id="2147483686" r:id="rId11"/>
    <p:sldLayoutId id="2147483687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hyperlink" Target="mailto:info.crdsi.cissslau@ssss.gouv.qc.ca" TargetMode="Externa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.png"/><Relationship Id="rId4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diagramLayout" Target="../diagrams/layout1.xml"/><Relationship Id="rId7" Type="http://schemas.openxmlformats.org/officeDocument/2006/relationships/image" Target="../media/image20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.png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image" Target="../media/image25.png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oleObject" Target="../embeddings/oleObject1.bin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notesSlide" Target="../notesSlides/notesSlide3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8" Type="http://schemas.openxmlformats.org/officeDocument/2006/relationships/tags" Target="../tags/tag8.xml"/><Relationship Id="rId51" Type="http://schemas.openxmlformats.org/officeDocument/2006/relationships/slideLayout" Target="../slideLayouts/slideLayout11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image" Target="../media/image24.emf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0.xml"/><Relationship Id="rId5" Type="http://schemas.openxmlformats.org/officeDocument/2006/relationships/hyperlink" Target="https://safirtest.rtss.qc.ca/Requetes/portail.html" TargetMode="Externa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C00D0212-50BA-E113-5A4A-867EC32444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375" y="525600"/>
            <a:ext cx="5323225" cy="368554"/>
          </a:xfrm>
        </p:spPr>
        <p:txBody>
          <a:bodyPr lIns="91440" tIns="45720" rIns="91440" bIns="45720" anchor="t"/>
          <a:lstStyle/>
          <a:p>
            <a:r>
              <a:rPr lang="fr-FR" dirty="0">
                <a:latin typeface="Roboto"/>
                <a:ea typeface="Roboto"/>
                <a:cs typeface="Roboto"/>
              </a:rPr>
              <a:t>CRDS-i </a:t>
            </a:r>
            <a:endParaRPr lang="fr-FR" dirty="0">
              <a:cs typeface="Roboto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2FDC09E-23BB-A192-B04C-A61BF43A0D93}"/>
              </a:ext>
            </a:extLst>
          </p:cNvPr>
          <p:cNvSpPr/>
          <p:nvPr/>
        </p:nvSpPr>
        <p:spPr>
          <a:xfrm>
            <a:off x="515815" y="5920154"/>
            <a:ext cx="1324708" cy="679938"/>
          </a:xfrm>
          <a:prstGeom prst="rect">
            <a:avLst/>
          </a:prstGeom>
          <a:solidFill>
            <a:srgbClr val="9AE6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F5657C5F-4E2A-FA6E-9F45-645C08A69C48}"/>
              </a:ext>
            </a:extLst>
          </p:cNvPr>
          <p:cNvSpPr txBox="1">
            <a:spLocks/>
          </p:cNvSpPr>
          <p:nvPr/>
        </p:nvSpPr>
        <p:spPr>
          <a:xfrm>
            <a:off x="620375" y="1374957"/>
            <a:ext cx="5228578" cy="1042318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CA" sz="1200" b="0" i="0" u="none" strike="noStrike" kern="1200">
                <a:solidFill>
                  <a:srgbClr val="00778C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fr-CA" sz="3200" b="1" dirty="0">
                <a:latin typeface="Roboto Light"/>
                <a:ea typeface="Roboto Light"/>
              </a:rPr>
              <a:t>Prescripteur électronique </a:t>
            </a:r>
            <a:br>
              <a:rPr lang="fr-CA" sz="3200" b="1" dirty="0">
                <a:latin typeface="Roboto Light"/>
                <a:ea typeface="Roboto Light"/>
              </a:rPr>
            </a:br>
            <a:r>
              <a:rPr lang="fr-CA" sz="3200" b="1" dirty="0">
                <a:latin typeface="Roboto Light"/>
                <a:ea typeface="Roboto Light"/>
              </a:rPr>
              <a:t>en imagerie</a:t>
            </a:r>
            <a:br>
              <a:rPr lang="fr-CA" sz="3200" b="1" dirty="0">
                <a:latin typeface="Roboto Light"/>
                <a:ea typeface="Roboto Light"/>
              </a:rPr>
            </a:br>
            <a:endParaRPr lang="fr-CA" sz="2800" b="1" dirty="0">
              <a:latin typeface="Roboto Light"/>
              <a:ea typeface="Roboto Light"/>
            </a:endParaRPr>
          </a:p>
          <a:p>
            <a:pPr>
              <a:lnSpc>
                <a:spcPct val="100000"/>
              </a:lnSpc>
            </a:pPr>
            <a:endParaRPr lang="en-US" sz="1800" dirty="0">
              <a:solidFill>
                <a:schemeClr val="tx1">
                  <a:lumMod val="75000"/>
                  <a:lumOff val="25000"/>
                </a:schemeClr>
              </a:solidFill>
              <a:latin typeface="Roboto Light"/>
              <a:ea typeface="Roboto Light"/>
            </a:endParaRPr>
          </a:p>
          <a:p>
            <a:pPr>
              <a:lnSpc>
                <a:spcPct val="100000"/>
              </a:lnSpc>
            </a:pPr>
            <a:endParaRPr lang="en-US" sz="1800" dirty="0">
              <a:solidFill>
                <a:schemeClr val="tx1">
                  <a:lumMod val="75000"/>
                  <a:lumOff val="25000"/>
                </a:schemeClr>
              </a:solidFill>
              <a:latin typeface="Roboto Light"/>
              <a:ea typeface="Roboto Light"/>
            </a:endParaRPr>
          </a:p>
          <a:p>
            <a:pPr>
              <a:lnSpc>
                <a:spcPct val="100000"/>
              </a:lnSpc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Light"/>
                <a:ea typeface="Roboto Light"/>
                <a:cs typeface="Roboto Light"/>
              </a:rPr>
              <a:t>DRMG des Laurentides</a:t>
            </a:r>
          </a:p>
          <a:p>
            <a:pPr>
              <a:lnSpc>
                <a:spcPct val="100000"/>
              </a:lnSpc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Light"/>
                <a:ea typeface="Roboto Light"/>
              </a:rPr>
              <a:t>Ministère de la Santé et des Services Sociaux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30E87E46-8F55-4D6D-AFC2-2BABA9A1F4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54760" y="4758911"/>
            <a:ext cx="3240279" cy="271631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E7CB27A-13A0-B75C-EAED-71BBD2857445}"/>
              </a:ext>
            </a:extLst>
          </p:cNvPr>
          <p:cNvSpPr/>
          <p:nvPr/>
        </p:nvSpPr>
        <p:spPr>
          <a:xfrm>
            <a:off x="11024558" y="6176514"/>
            <a:ext cx="651627" cy="492590"/>
          </a:xfrm>
          <a:prstGeom prst="rect">
            <a:avLst/>
          </a:prstGeom>
          <a:solidFill>
            <a:srgbClr val="9AE6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947FFE40-D64A-226E-8892-E6FBD8E751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2341" y="5531666"/>
            <a:ext cx="4357330" cy="644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E80B26C1-FAF5-782A-D829-CD9D9F5AE8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71169" y="615636"/>
            <a:ext cx="4318502" cy="4771176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D3A2DFD9-EE8B-8D76-7843-04229218413B}"/>
              </a:ext>
            </a:extLst>
          </p:cNvPr>
          <p:cNvSpPr txBox="1"/>
          <p:nvPr/>
        </p:nvSpPr>
        <p:spPr>
          <a:xfrm>
            <a:off x="5659515" y="5920154"/>
            <a:ext cx="616998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en-US" sz="1800" dirty="0">
                <a:latin typeface="Roboto Light"/>
                <a:ea typeface="Roboto Light"/>
              </a:rPr>
              <a:t>Ordonnance en imagerie au coeur de la transformation des pratiques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7075931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CBE9EBF8-C089-27E0-9256-13B1A44E51C5}"/>
              </a:ext>
            </a:extLst>
          </p:cNvPr>
          <p:cNvSpPr txBox="1">
            <a:spLocks/>
          </p:cNvSpPr>
          <p:nvPr/>
        </p:nvSpPr>
        <p:spPr>
          <a:xfrm>
            <a:off x="620375" y="2060380"/>
            <a:ext cx="3611656" cy="87970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CA" sz="1200" b="0" i="0" u="none" strike="noStrike" kern="1200">
                <a:solidFill>
                  <a:srgbClr val="00778C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fr-CA" sz="3200" dirty="0">
                <a:latin typeface="Roboto Light"/>
                <a:ea typeface="Roboto Light"/>
              </a:rPr>
              <a:t>Activités en cours</a:t>
            </a:r>
            <a:endParaRPr lang="fr-CA" sz="2800" dirty="0">
              <a:latin typeface="Roboto Light"/>
              <a:ea typeface="Roboto Light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ACE4429-2B76-B5BF-0528-C746C638F845}"/>
              </a:ext>
            </a:extLst>
          </p:cNvPr>
          <p:cNvSpPr/>
          <p:nvPr/>
        </p:nvSpPr>
        <p:spPr>
          <a:xfrm>
            <a:off x="509666" y="5816184"/>
            <a:ext cx="1304144" cy="779488"/>
          </a:xfrm>
          <a:prstGeom prst="rect">
            <a:avLst/>
          </a:prstGeom>
          <a:solidFill>
            <a:srgbClr val="E8F7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Espace réservé du contenu 2">
            <a:extLst>
              <a:ext uri="{FF2B5EF4-FFF2-40B4-BE49-F238E27FC236}">
                <a16:creationId xmlns:a16="http://schemas.microsoft.com/office/drawing/2014/main" id="{6FBD9C51-04C9-14A1-190E-E0C7203A01A5}"/>
              </a:ext>
            </a:extLst>
          </p:cNvPr>
          <p:cNvSpPr txBox="1">
            <a:spLocks/>
          </p:cNvSpPr>
          <p:nvPr/>
        </p:nvSpPr>
        <p:spPr>
          <a:xfrm>
            <a:off x="620375" y="2822544"/>
            <a:ext cx="4980326" cy="1012227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Light"/>
                <a:ea typeface="Roboto Light"/>
              </a:rPr>
              <a:t>Projet pilote de déploiement au Saguenay/Lac St-Jean</a:t>
            </a:r>
          </a:p>
          <a:p>
            <a:r>
              <a:rPr lang="fr-CA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Light"/>
                <a:ea typeface="Roboto Light"/>
              </a:rPr>
              <a:t>Projet pilote de déploiement à Montérégie-Centre</a:t>
            </a:r>
            <a:endParaRPr lang="fr-CA" sz="1800" dirty="0">
              <a:solidFill>
                <a:schemeClr val="tx1">
                  <a:lumMod val="75000"/>
                  <a:lumOff val="25000"/>
                </a:schemeClr>
              </a:solidFill>
              <a:latin typeface="Roboto Light"/>
              <a:ea typeface="Roboto Light"/>
              <a:cs typeface="Roboto Light"/>
            </a:endParaRPr>
          </a:p>
          <a:p>
            <a:r>
              <a:rPr lang="fr-CA" sz="18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Light"/>
                <a:ea typeface="Roboto Light"/>
              </a:rPr>
              <a:t>Planification des sites pilotes pour les demandes externes (5 CRDS-i) 1ère ligne/DMÉ</a:t>
            </a:r>
            <a:endParaRPr lang="fr-CA" sz="1800" dirty="0">
              <a:solidFill>
                <a:schemeClr val="tx1">
                  <a:lumMod val="75000"/>
                  <a:lumOff val="25000"/>
                </a:schemeClr>
              </a:solidFill>
              <a:latin typeface="Roboto Light"/>
              <a:ea typeface="Roboto Light"/>
              <a:cs typeface="Roboto Light"/>
            </a:endParaRP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E1CB279E-389E-81A6-7FE2-1B8FD6370A2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064"/>
          <a:stretch/>
        </p:blipFill>
        <p:spPr>
          <a:xfrm>
            <a:off x="6354549" y="0"/>
            <a:ext cx="5848952" cy="6160953"/>
          </a:xfrm>
          <a:prstGeom prst="rect">
            <a:avLst/>
          </a:prstGeom>
        </p:spPr>
      </p:pic>
      <p:pic>
        <p:nvPicPr>
          <p:cNvPr id="10" name="Image 6">
            <a:extLst>
              <a:ext uri="{FF2B5EF4-FFF2-40B4-BE49-F238E27FC236}">
                <a16:creationId xmlns:a16="http://schemas.microsoft.com/office/drawing/2014/main" id="{0F14E383-327C-F359-6B5D-6C324C6E71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6359312" y="3555866"/>
            <a:ext cx="2600325" cy="260985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37E9D2F-36D9-549B-8C60-8D18F90D643F}"/>
              </a:ext>
            </a:extLst>
          </p:cNvPr>
          <p:cNvSpPr/>
          <p:nvPr/>
        </p:nvSpPr>
        <p:spPr>
          <a:xfrm>
            <a:off x="11024558" y="6160952"/>
            <a:ext cx="651627" cy="439139"/>
          </a:xfrm>
          <a:prstGeom prst="rect">
            <a:avLst/>
          </a:prstGeom>
          <a:solidFill>
            <a:srgbClr val="E8F7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20270944-79B5-C4A2-3431-4B63674839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6024" y="4860790"/>
            <a:ext cx="2944514" cy="1997209"/>
          </a:xfrm>
          <a:prstGeom prst="rect">
            <a:avLst/>
          </a:prstGeom>
        </p:spPr>
      </p:pic>
      <p:sp>
        <p:nvSpPr>
          <p:cNvPr id="5" name="Titre 2">
            <a:extLst>
              <a:ext uri="{FF2B5EF4-FFF2-40B4-BE49-F238E27FC236}">
                <a16:creationId xmlns:a16="http://schemas.microsoft.com/office/drawing/2014/main" id="{EAA75DEE-62B7-60BA-1C7E-7EE97AA76F5F}"/>
              </a:ext>
            </a:extLst>
          </p:cNvPr>
          <p:cNvSpPr txBox="1">
            <a:spLocks/>
          </p:cNvSpPr>
          <p:nvPr/>
        </p:nvSpPr>
        <p:spPr>
          <a:xfrm>
            <a:off x="620375" y="525600"/>
            <a:ext cx="4459625" cy="36855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lang="fr-FR" sz="2000" b="1" dirty="0">
                <a:solidFill>
                  <a:srgbClr val="00778C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fr-FR" sz="2000" dirty="0">
                <a:solidFill>
                  <a:srgbClr val="00778C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PRESCRIPTEUR ÉLECTRONIQUE </a:t>
            </a:r>
            <a:br>
              <a:rPr lang="fr-FR" sz="2000" dirty="0">
                <a:solidFill>
                  <a:srgbClr val="00778C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</a:br>
            <a:r>
              <a:rPr lang="fr-FR" sz="2000" dirty="0">
                <a:solidFill>
                  <a:srgbClr val="00778C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EN IMAGERIE</a:t>
            </a:r>
          </a:p>
        </p:txBody>
      </p:sp>
    </p:spTree>
    <p:extLst>
      <p:ext uri="{BB962C8B-B14F-4D97-AF65-F5344CB8AC3E}">
        <p14:creationId xmlns:p14="http://schemas.microsoft.com/office/powerpoint/2010/main" val="1017919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CBE9EBF8-C089-27E0-9256-13B1A44E51C5}"/>
              </a:ext>
            </a:extLst>
          </p:cNvPr>
          <p:cNvSpPr txBox="1">
            <a:spLocks/>
          </p:cNvSpPr>
          <p:nvPr/>
        </p:nvSpPr>
        <p:spPr>
          <a:xfrm>
            <a:off x="620375" y="1841547"/>
            <a:ext cx="3611656" cy="87970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CA" sz="1200" b="0" i="0" u="none" strike="noStrike" kern="1200">
                <a:solidFill>
                  <a:srgbClr val="00778C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fr-CA" sz="3200" dirty="0">
                <a:latin typeface="Roboto Light"/>
                <a:ea typeface="Roboto Light"/>
              </a:rPr>
              <a:t>Conclusion</a:t>
            </a:r>
            <a:endParaRPr lang="fr-CA" sz="2800" dirty="0">
              <a:latin typeface="Roboto Light"/>
              <a:ea typeface="Roboto Light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ACE4429-2B76-B5BF-0528-C746C638F845}"/>
              </a:ext>
            </a:extLst>
          </p:cNvPr>
          <p:cNvSpPr/>
          <p:nvPr/>
        </p:nvSpPr>
        <p:spPr>
          <a:xfrm>
            <a:off x="509666" y="5816184"/>
            <a:ext cx="1304144" cy="779488"/>
          </a:xfrm>
          <a:prstGeom prst="rect">
            <a:avLst/>
          </a:prstGeom>
          <a:solidFill>
            <a:srgbClr val="E8F7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Espace réservé du contenu 2">
            <a:extLst>
              <a:ext uri="{FF2B5EF4-FFF2-40B4-BE49-F238E27FC236}">
                <a16:creationId xmlns:a16="http://schemas.microsoft.com/office/drawing/2014/main" id="{6FBD9C51-04C9-14A1-190E-E0C7203A01A5}"/>
              </a:ext>
            </a:extLst>
          </p:cNvPr>
          <p:cNvSpPr txBox="1">
            <a:spLocks/>
          </p:cNvSpPr>
          <p:nvPr/>
        </p:nvSpPr>
        <p:spPr>
          <a:xfrm>
            <a:off x="620374" y="2424701"/>
            <a:ext cx="5475626" cy="2123657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CA" sz="2000" b="1" i="0" dirty="0">
                <a:solidFill>
                  <a:srgbClr val="565656"/>
                </a:solidFill>
                <a:effectLst/>
                <a:latin typeface="Lato" panose="020F0502020204030204" pitchFamily="34" charset="0"/>
              </a:rPr>
              <a:t>Le CRDSI est ouvert du lundi au vendredi, de 8 h 30 à 11 h 30 et de 13 h à 15 h 30.</a:t>
            </a:r>
            <a:endParaRPr lang="fr-CA" sz="2000" b="0" i="0" dirty="0">
              <a:solidFill>
                <a:srgbClr val="565656"/>
              </a:solidFill>
              <a:effectLst/>
              <a:latin typeface="Lato" panose="020F0502020204030204" pitchFamily="34" charset="0"/>
            </a:endParaRPr>
          </a:p>
          <a:p>
            <a:pPr algn="l"/>
            <a:r>
              <a:rPr lang="fr-CA" sz="2000" b="0" i="0" dirty="0">
                <a:solidFill>
                  <a:srgbClr val="565656"/>
                </a:solidFill>
                <a:effectLst/>
                <a:latin typeface="Lato" panose="020F0502020204030204" pitchFamily="34" charset="0"/>
              </a:rPr>
              <a:t>Téléphone : 1 844 975-5943, option 2</a:t>
            </a:r>
            <a:br>
              <a:rPr lang="fr-CA" sz="2000" b="0" i="0" dirty="0">
                <a:solidFill>
                  <a:srgbClr val="565656"/>
                </a:solidFill>
                <a:effectLst/>
                <a:latin typeface="Lato" panose="020F0502020204030204" pitchFamily="34" charset="0"/>
              </a:rPr>
            </a:br>
            <a:r>
              <a:rPr lang="fr-CA" sz="2000" b="0" i="0" dirty="0">
                <a:solidFill>
                  <a:srgbClr val="565656"/>
                </a:solidFill>
                <a:effectLst/>
                <a:latin typeface="Lato" panose="020F0502020204030204" pitchFamily="34" charset="0"/>
              </a:rPr>
              <a:t>Télécopieur : 450 974-4024 ou sans frais 1 833 974-4024</a:t>
            </a:r>
            <a:br>
              <a:rPr lang="fr-CA" sz="2000" b="0" i="0" dirty="0">
                <a:solidFill>
                  <a:srgbClr val="565656"/>
                </a:solidFill>
                <a:effectLst/>
                <a:latin typeface="Lato" panose="020F0502020204030204" pitchFamily="34" charset="0"/>
              </a:rPr>
            </a:br>
            <a:r>
              <a:rPr lang="fr-CA" sz="2000" b="0" i="0" dirty="0">
                <a:solidFill>
                  <a:srgbClr val="565656"/>
                </a:solidFill>
                <a:effectLst/>
                <a:latin typeface="Lato" panose="020F0502020204030204" pitchFamily="34" charset="0"/>
              </a:rPr>
              <a:t>Courriel</a:t>
            </a:r>
            <a:r>
              <a:rPr lang="fr-CA" sz="2000" b="0" i="0" u="none" strike="noStrike" dirty="0">
                <a:solidFill>
                  <a:srgbClr val="0787A1"/>
                </a:solidFill>
                <a:effectLst/>
                <a:latin typeface="Lato" panose="020F0502020204030204" pitchFamily="34" charset="0"/>
                <a:hlinkClick r:id="rId2"/>
              </a:rPr>
              <a:t>info.crdsi.cissslau@ssss.gouv.qc.ca</a:t>
            </a:r>
            <a:r>
              <a:rPr lang="fr-CA" sz="2000" b="0" i="0" dirty="0">
                <a:solidFill>
                  <a:srgbClr val="565656"/>
                </a:solidFill>
                <a:effectLst/>
                <a:latin typeface="Lato" panose="020F0502020204030204" pitchFamily="34" charset="0"/>
              </a:rPr>
              <a:t> </a:t>
            </a:r>
          </a:p>
          <a:p>
            <a:pPr marL="0" indent="0">
              <a:buNone/>
            </a:pPr>
            <a:r>
              <a:rPr lang="fr-CA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Vous rencontrez des enjeux avec l’outil  </a:t>
            </a:r>
            <a:r>
              <a:rPr lang="fr-CA" sz="2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l’aide à la décision, </a:t>
            </a:r>
            <a:r>
              <a:rPr lang="fr-CA" sz="2200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l’équipe du CO-Imagerie (centre opérationnel) les coordonnées seront disponibles lors du déploiement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9FF45B6-D8B2-5A0F-D903-FE45DEB75A66}"/>
              </a:ext>
            </a:extLst>
          </p:cNvPr>
          <p:cNvSpPr/>
          <p:nvPr/>
        </p:nvSpPr>
        <p:spPr>
          <a:xfrm>
            <a:off x="11024558" y="6160952"/>
            <a:ext cx="651627" cy="439139"/>
          </a:xfrm>
          <a:prstGeom prst="rect">
            <a:avLst/>
          </a:prstGeom>
          <a:solidFill>
            <a:srgbClr val="E8F7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31D619FA-42D8-BC58-22A3-08423123FF0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5064"/>
          <a:stretch/>
        </p:blipFill>
        <p:spPr>
          <a:xfrm>
            <a:off x="6360301" y="0"/>
            <a:ext cx="5848952" cy="6160952"/>
          </a:xfrm>
          <a:prstGeom prst="rect">
            <a:avLst/>
          </a:prstGeom>
        </p:spPr>
      </p:pic>
      <p:pic>
        <p:nvPicPr>
          <p:cNvPr id="5" name="Image 6">
            <a:extLst>
              <a:ext uri="{FF2B5EF4-FFF2-40B4-BE49-F238E27FC236}">
                <a16:creationId xmlns:a16="http://schemas.microsoft.com/office/drawing/2014/main" id="{D5313E0F-DA72-6433-08C4-B7987B71E2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5400000">
            <a:off x="6350427" y="3560762"/>
            <a:ext cx="2600325" cy="2609850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EB9A4CC2-0FB9-A9E0-F095-3506C3948A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48353" y="5131512"/>
            <a:ext cx="3240279" cy="2041541"/>
          </a:xfrm>
          <a:prstGeom prst="rect">
            <a:avLst/>
          </a:prstGeom>
        </p:spPr>
      </p:pic>
      <p:sp>
        <p:nvSpPr>
          <p:cNvPr id="6" name="Titre 2">
            <a:extLst>
              <a:ext uri="{FF2B5EF4-FFF2-40B4-BE49-F238E27FC236}">
                <a16:creationId xmlns:a16="http://schemas.microsoft.com/office/drawing/2014/main" id="{B8DA0D82-D73F-816F-8E57-2550B3FBD335}"/>
              </a:ext>
            </a:extLst>
          </p:cNvPr>
          <p:cNvSpPr txBox="1">
            <a:spLocks/>
          </p:cNvSpPr>
          <p:nvPr/>
        </p:nvSpPr>
        <p:spPr>
          <a:xfrm>
            <a:off x="620375" y="525600"/>
            <a:ext cx="4459625" cy="36855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lang="fr-FR" sz="2000" b="1" dirty="0">
                <a:solidFill>
                  <a:srgbClr val="00778C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fr-FR" sz="2000" dirty="0">
                <a:solidFill>
                  <a:srgbClr val="00778C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PRESCRIPTEUR ÉLECTRONIQUE </a:t>
            </a:r>
            <a:br>
              <a:rPr lang="fr-FR" sz="2000" dirty="0">
                <a:solidFill>
                  <a:srgbClr val="00778C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</a:br>
            <a:r>
              <a:rPr lang="fr-FR" sz="2000" dirty="0">
                <a:solidFill>
                  <a:srgbClr val="00778C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EN IMAGERIE</a:t>
            </a:r>
          </a:p>
        </p:txBody>
      </p:sp>
    </p:spTree>
    <p:extLst>
      <p:ext uri="{BB962C8B-B14F-4D97-AF65-F5344CB8AC3E}">
        <p14:creationId xmlns:p14="http://schemas.microsoft.com/office/powerpoint/2010/main" val="31007902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723EE6F-6C7F-8D82-D063-81DF62DD6C1C}"/>
              </a:ext>
            </a:extLst>
          </p:cNvPr>
          <p:cNvSpPr/>
          <p:nvPr/>
        </p:nvSpPr>
        <p:spPr>
          <a:xfrm>
            <a:off x="5283200" y="0"/>
            <a:ext cx="6934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ACE4429-2B76-B5BF-0528-C746C638F845}"/>
              </a:ext>
            </a:extLst>
          </p:cNvPr>
          <p:cNvSpPr/>
          <p:nvPr/>
        </p:nvSpPr>
        <p:spPr>
          <a:xfrm>
            <a:off x="509666" y="5816184"/>
            <a:ext cx="1304144" cy="779488"/>
          </a:xfrm>
          <a:prstGeom prst="rect">
            <a:avLst/>
          </a:prstGeom>
          <a:solidFill>
            <a:srgbClr val="E8F7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777B3AB-E4A1-5C94-F429-200B81F89D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2076" y="607859"/>
            <a:ext cx="10305306" cy="5393110"/>
          </a:xfrm>
          <a:prstGeom prst="rect">
            <a:avLst/>
          </a:prstGeom>
        </p:spPr>
      </p:pic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6F2CE48C-4040-D070-C8D5-257C1E5264FB}"/>
              </a:ext>
            </a:extLst>
          </p:cNvPr>
          <p:cNvSpPr txBox="1">
            <a:spLocks/>
          </p:cNvSpPr>
          <p:nvPr/>
        </p:nvSpPr>
        <p:spPr>
          <a:xfrm>
            <a:off x="620374" y="2161980"/>
            <a:ext cx="4256425" cy="87970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CA" sz="1200" b="0" i="0" u="none" strike="noStrike" kern="1200">
                <a:solidFill>
                  <a:srgbClr val="00778C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fr-CA" sz="2800" dirty="0">
                <a:latin typeface="Roboto Light"/>
                <a:ea typeface="Roboto Light"/>
              </a:rPr>
              <a:t>L’intégration aux dossiers médicaux électroniques (DMÉ) et l’acheminement au CRDS-i</a:t>
            </a:r>
            <a:endParaRPr lang="fr-CA" sz="2400" dirty="0">
              <a:latin typeface="Roboto Light"/>
              <a:ea typeface="Roboto Light"/>
            </a:endParaRPr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73F86D7B-30C9-178D-8920-160CE0526B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54760" y="4548358"/>
            <a:ext cx="3240279" cy="2716319"/>
          </a:xfrm>
          <a:prstGeom prst="rect">
            <a:avLst/>
          </a:prstGeom>
        </p:spPr>
      </p:pic>
      <p:sp>
        <p:nvSpPr>
          <p:cNvPr id="7" name="Titre 2">
            <a:extLst>
              <a:ext uri="{FF2B5EF4-FFF2-40B4-BE49-F238E27FC236}">
                <a16:creationId xmlns:a16="http://schemas.microsoft.com/office/drawing/2014/main" id="{9B4C9E53-8A1F-0B6C-5AD2-0B2C8DD021C2}"/>
              </a:ext>
            </a:extLst>
          </p:cNvPr>
          <p:cNvSpPr txBox="1">
            <a:spLocks/>
          </p:cNvSpPr>
          <p:nvPr/>
        </p:nvSpPr>
        <p:spPr>
          <a:xfrm>
            <a:off x="620375" y="525600"/>
            <a:ext cx="4459625" cy="36855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lang="fr-FR" sz="2000" b="1" dirty="0">
                <a:solidFill>
                  <a:srgbClr val="00778C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fr-FR" sz="2000" dirty="0">
                <a:solidFill>
                  <a:srgbClr val="00778C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PRESCRIPTEUR ÉLECTRONIQUE </a:t>
            </a:r>
            <a:br>
              <a:rPr lang="fr-FR" sz="2000" dirty="0">
                <a:solidFill>
                  <a:srgbClr val="00778C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</a:br>
            <a:r>
              <a:rPr lang="fr-FR" sz="2000" dirty="0">
                <a:solidFill>
                  <a:srgbClr val="00778C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EN IMAGERIE</a:t>
            </a:r>
          </a:p>
        </p:txBody>
      </p:sp>
    </p:spTree>
    <p:extLst>
      <p:ext uri="{BB962C8B-B14F-4D97-AF65-F5344CB8AC3E}">
        <p14:creationId xmlns:p14="http://schemas.microsoft.com/office/powerpoint/2010/main" val="42548939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E56B62F-A364-81D1-287F-FD760376BC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8649" y="3437615"/>
            <a:ext cx="4926463" cy="694137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3000" i="1" spc="-290" dirty="0" err="1">
                <a:latin typeface="+mj-lt"/>
              </a:rPr>
              <a:t>Outil</a:t>
            </a:r>
            <a:r>
              <a:rPr lang="en-US" sz="3000" i="1" spc="-290" dirty="0">
                <a:latin typeface="+mj-lt"/>
              </a:rPr>
              <a:t> </a:t>
            </a:r>
            <a:r>
              <a:rPr lang="en-US" sz="3000" i="1" spc="-290" dirty="0" err="1">
                <a:latin typeface="+mj-lt"/>
              </a:rPr>
              <a:t>d’aide</a:t>
            </a:r>
            <a:r>
              <a:rPr lang="en-US" sz="3000" i="1" spc="-290" dirty="0">
                <a:latin typeface="+mj-lt"/>
              </a:rPr>
              <a:t> à la </a:t>
            </a:r>
            <a:r>
              <a:rPr lang="en-US" sz="3000" i="1" spc="-290" dirty="0" err="1">
                <a:latin typeface="+mj-lt"/>
              </a:rPr>
              <a:t>décision</a:t>
            </a:r>
            <a:r>
              <a:rPr lang="en-US" sz="3000" i="1" spc="-290" dirty="0">
                <a:latin typeface="+mj-lt"/>
              </a:rPr>
              <a:t> (</a:t>
            </a:r>
            <a:r>
              <a:rPr lang="en-US" sz="3000" i="1" spc="-290" dirty="0" err="1">
                <a:latin typeface="+mj-lt"/>
              </a:rPr>
              <a:t>Medcurrent</a:t>
            </a:r>
            <a:r>
              <a:rPr lang="en-US" sz="3000" i="1" spc="-290" dirty="0">
                <a:latin typeface="+mj-lt"/>
              </a:rPr>
              <a:t>)</a:t>
            </a:r>
          </a:p>
        </p:txBody>
      </p:sp>
      <p:pic>
        <p:nvPicPr>
          <p:cNvPr id="9" name="Image 8" descr="Une image contenant texte, capture d’écran, logiciel, Page web&#10;&#10;Description générée automatiquement">
            <a:extLst>
              <a:ext uri="{FF2B5EF4-FFF2-40B4-BE49-F238E27FC236}">
                <a16:creationId xmlns:a16="http://schemas.microsoft.com/office/drawing/2014/main" id="{E626803F-F00F-9440-AF0C-EC889113A0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4262" y="4001694"/>
            <a:ext cx="3171881" cy="2401199"/>
          </a:xfrm>
          <a:prstGeom prst="rect">
            <a:avLst/>
          </a:prstGeom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</p:pic>
      <p:pic>
        <p:nvPicPr>
          <p:cNvPr id="7" name="Image 6" descr="Une image contenant texte, capture d’écran, logiciel, Page web&#10;&#10;Description générée automatiquement">
            <a:extLst>
              <a:ext uri="{FF2B5EF4-FFF2-40B4-BE49-F238E27FC236}">
                <a16:creationId xmlns:a16="http://schemas.microsoft.com/office/drawing/2014/main" id="{E09E9338-9101-CD70-11D4-9911AF5619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2416" y="3996092"/>
            <a:ext cx="3784323" cy="2393285"/>
          </a:xfrm>
          <a:prstGeom prst="rect">
            <a:avLst/>
          </a:prstGeom>
          <a:effectLst>
            <a:glow rad="101600">
              <a:schemeClr val="accent1">
                <a:satMod val="175000"/>
                <a:alpha val="40000"/>
              </a:schemeClr>
            </a:glow>
          </a:effectLst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5B978AE0-C727-BEB2-97C9-356513A379D2}"/>
              </a:ext>
            </a:extLst>
          </p:cNvPr>
          <p:cNvSpPr txBox="1"/>
          <p:nvPr/>
        </p:nvSpPr>
        <p:spPr>
          <a:xfrm>
            <a:off x="8436811" y="1402203"/>
            <a:ext cx="3469640" cy="5000690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marL="57150" defTabSz="914400">
              <a:lnSpc>
                <a:spcPct val="90000"/>
              </a:lnSpc>
              <a:spcAft>
                <a:spcPts val="600"/>
              </a:spcAft>
            </a:pPr>
            <a:r>
              <a:rPr lang="fr-CA" b="1" u="sng"/>
              <a:t>Guides de pertinence </a:t>
            </a:r>
            <a:r>
              <a:rPr lang="fr-CA" i="1" u="sng"/>
              <a:t>(évolutifs)</a:t>
            </a:r>
            <a:endParaRPr lang="fr-CA" i="1" u="sng">
              <a:cs typeface="Calibri"/>
            </a:endParaRPr>
          </a:p>
          <a:p>
            <a:pPr marL="179705" indent="-107950" defTabSz="9144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CA" sz="1400"/>
              <a:t>Institut National d’Excellence en Santé et Services Sociaux. (INESSS)</a:t>
            </a:r>
            <a:endParaRPr lang="fr-CA" sz="1400">
              <a:cs typeface="Calibri" panose="020F0502020204030204"/>
            </a:endParaRPr>
          </a:p>
          <a:p>
            <a:pPr lvl="2" indent="-143510" defTabSz="91440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CA" sz="1400"/>
              <a:t>Céphalée </a:t>
            </a:r>
            <a:endParaRPr lang="fr-CA" sz="1400">
              <a:cs typeface="Calibri" panose="020F0502020204030204"/>
            </a:endParaRPr>
          </a:p>
          <a:p>
            <a:pPr lvl="2" indent="-143510" defTabSz="91440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CA" sz="1400"/>
              <a:t>Lombalgie </a:t>
            </a:r>
            <a:endParaRPr lang="fr-CA" sz="1400">
              <a:cs typeface="Calibri" panose="020F0502020204030204"/>
            </a:endParaRPr>
          </a:p>
          <a:p>
            <a:pPr lvl="2" indent="-143510" defTabSz="91440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CA" sz="1400"/>
              <a:t>Cervicalgie</a:t>
            </a:r>
            <a:endParaRPr lang="fr-CA" sz="1400">
              <a:cs typeface="Calibri" panose="020F0502020204030204"/>
            </a:endParaRPr>
          </a:p>
          <a:p>
            <a:pPr lvl="2" indent="-143510" defTabSz="91440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CA" sz="1400"/>
              <a:t>Gonalgie</a:t>
            </a:r>
            <a:endParaRPr lang="fr-CA" sz="1400">
              <a:cs typeface="Calibri" panose="020F0502020204030204"/>
            </a:endParaRPr>
          </a:p>
          <a:p>
            <a:pPr lvl="2" indent="-143510" defTabSz="91440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CA" sz="1400"/>
              <a:t>Douleur à l'épaule</a:t>
            </a:r>
            <a:endParaRPr lang="fr-CA" sz="1400">
              <a:cs typeface="Calibri" panose="020F0502020204030204"/>
            </a:endParaRPr>
          </a:p>
          <a:p>
            <a:pPr indent="-228600" defTabSz="9144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CA" sz="1400">
              <a:cs typeface="Calibri" panose="020F0502020204030204"/>
            </a:endParaRPr>
          </a:p>
          <a:p>
            <a:pPr marL="179705" indent="-107950" defTabSz="9144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CA" sz="1400"/>
              <a:t>Association canadienne de radiologie (CAR)</a:t>
            </a:r>
            <a:endParaRPr lang="fr-CA" sz="1400">
              <a:cs typeface="Calibri" panose="020F0502020204030204"/>
            </a:endParaRPr>
          </a:p>
          <a:p>
            <a:pPr lvl="2" indent="-143510" defTabSz="91440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CA" sz="1400"/>
              <a:t>Trauma (21)</a:t>
            </a:r>
            <a:endParaRPr lang="fr-CA" sz="1400">
              <a:cs typeface="Calibri" panose="020F0502020204030204"/>
            </a:endParaRPr>
          </a:p>
          <a:p>
            <a:pPr lvl="2" indent="-143510" defTabSz="91440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CA" sz="1400"/>
              <a:t>Seins (9)</a:t>
            </a:r>
            <a:endParaRPr lang="fr-CA" sz="1400">
              <a:cs typeface="Calibri" panose="020F0502020204030204"/>
            </a:endParaRPr>
          </a:p>
          <a:p>
            <a:pPr lvl="2" indent="-143510" defTabSz="91440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CA" sz="1400"/>
              <a:t>Musculosquelettique (24)   </a:t>
            </a:r>
            <a:endParaRPr lang="fr-CA" sz="1400">
              <a:cs typeface="Calibri" panose="020F0502020204030204"/>
            </a:endParaRPr>
          </a:p>
          <a:p>
            <a:pPr lvl="2" indent="-143510" defTabSz="91440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CA" sz="1400"/>
              <a:t>Gynéco-obstétrique (12)</a:t>
            </a:r>
            <a:endParaRPr lang="fr-CA" sz="1400">
              <a:cs typeface="Calibri" panose="020F0502020204030204"/>
            </a:endParaRPr>
          </a:p>
          <a:p>
            <a:pPr lvl="2" indent="-143510" defTabSz="91440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CA" sz="1400"/>
              <a:t>Thoracique (NOUVEAU)</a:t>
            </a:r>
            <a:endParaRPr lang="fr-CA" sz="1400">
              <a:cs typeface="Calibri" panose="020F0502020204030204"/>
            </a:endParaRPr>
          </a:p>
          <a:p>
            <a:pPr lvl="2" indent="-143510" defTabSz="91440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CA" sz="1400"/>
              <a:t>Tête et cou (NOUVEAU)</a:t>
            </a:r>
            <a:endParaRPr lang="fr-CA" sz="1400">
              <a:cs typeface="Calibri"/>
            </a:endParaRPr>
          </a:p>
          <a:p>
            <a:pPr lvl="2" indent="-143510" defTabSz="91440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CA" sz="1400"/>
              <a:t>Gastro intestinal (NOUVEAU)</a:t>
            </a:r>
            <a:endParaRPr lang="fr-CA" sz="1400">
              <a:cs typeface="Calibri" panose="020F0502020204030204"/>
            </a:endParaRPr>
          </a:p>
          <a:p>
            <a:pPr indent="-228600" defTabSz="9144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300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1023B406-DE6B-6955-DD9A-28C42814B9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spcAft>
                <a:spcPts val="600"/>
              </a:spcAft>
            </a:pPr>
            <a:fld id="{511EA75C-EC4C-4D33-ACF8-A8544E993E0B}" type="slidenum">
              <a:rPr lang="en-US"/>
              <a:pPr defTabSz="914400">
                <a:spcAft>
                  <a:spcPts val="600"/>
                </a:spcAft>
              </a:pPr>
              <a:t>3</a:t>
            </a:fld>
            <a:endParaRPr lang="en-US"/>
          </a:p>
        </p:txBody>
      </p:sp>
      <p:sp>
        <p:nvSpPr>
          <p:cNvPr id="4" name="Titre 1">
            <a:extLst>
              <a:ext uri="{FF2B5EF4-FFF2-40B4-BE49-F238E27FC236}">
                <a16:creationId xmlns:a16="http://schemas.microsoft.com/office/drawing/2014/main" id="{80E95E38-824A-5DB4-22C3-81F5EB3A78BD}"/>
              </a:ext>
            </a:extLst>
          </p:cNvPr>
          <p:cNvSpPr txBox="1">
            <a:spLocks/>
          </p:cNvSpPr>
          <p:nvPr/>
        </p:nvSpPr>
        <p:spPr>
          <a:xfrm>
            <a:off x="1438233" y="136848"/>
            <a:ext cx="5694211" cy="88316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CA" i="1" spc="-290" dirty="0">
                <a:latin typeface="+mj-lt"/>
              </a:rPr>
              <a:t>Prescripteur électronique IM</a:t>
            </a:r>
          </a:p>
          <a:p>
            <a:r>
              <a:rPr lang="en-US" sz="2400" i="1" dirty="0">
                <a:latin typeface="+mj-lt"/>
              </a:rPr>
              <a:t>        Externe(SAFIR) </a:t>
            </a:r>
            <a:endParaRPr lang="en-US" sz="2400" i="1" dirty="0">
              <a:latin typeface="+mj-lt"/>
              <a:cs typeface="Calibri Light"/>
            </a:endParaRP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FDF9CD1E-053D-FD5C-BC57-DE8F2084EE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7748" y="1022369"/>
            <a:ext cx="2390577" cy="2433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5892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1B1E394-4541-3097-BFB9-C457181BE0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802" y="858982"/>
            <a:ext cx="3160341" cy="5152933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i="1" kern="1200" err="1">
                <a:latin typeface="+mj-lt"/>
                <a:ea typeface="+mj-ea"/>
                <a:cs typeface="+mj-cs"/>
              </a:rPr>
              <a:t>Objectifs</a:t>
            </a:r>
            <a:r>
              <a:rPr lang="en-US" i="1" kern="1200">
                <a:latin typeface="+mj-lt"/>
                <a:ea typeface="+mj-ea"/>
                <a:cs typeface="+mj-cs"/>
              </a:rPr>
              <a:t> du </a:t>
            </a:r>
            <a:r>
              <a:rPr lang="en-US" i="1" kern="1200" err="1">
                <a:latin typeface="+mj-lt"/>
                <a:ea typeface="+mj-ea"/>
                <a:cs typeface="+mj-cs"/>
              </a:rPr>
              <a:t>projet</a:t>
            </a:r>
            <a:endParaRPr lang="en-US" i="1" kern="1200" err="1">
              <a:latin typeface="+mj-lt"/>
              <a:cs typeface="Calibri Light"/>
            </a:endParaRP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4B00AF39-6F59-2EA5-38BC-358A8A1511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86800" y="6356350"/>
            <a:ext cx="32004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spcAft>
                <a:spcPts val="600"/>
              </a:spcAft>
            </a:pPr>
            <a:fld id="{511EA75C-EC4C-4D33-ACF8-A8544E993E0B}" type="slidenum">
              <a:rPr lang="en-US">
                <a:solidFill>
                  <a:schemeClr val="tx1"/>
                </a:solidFill>
              </a:rPr>
              <a:pPr defTabSz="914400">
                <a:spcAft>
                  <a:spcPts val="600"/>
                </a:spcAft>
              </a:pPr>
              <a:t>4</a:t>
            </a:fld>
            <a:endParaRPr lang="en-US">
              <a:solidFill>
                <a:schemeClr val="tx1"/>
              </a:solidFill>
            </a:endParaRPr>
          </a:p>
        </p:txBody>
      </p:sp>
      <p:graphicFrame>
        <p:nvGraphicFramePr>
          <p:cNvPr id="6" name="ZoneTexte 3">
            <a:extLst>
              <a:ext uri="{FF2B5EF4-FFF2-40B4-BE49-F238E27FC236}">
                <a16:creationId xmlns:a16="http://schemas.microsoft.com/office/drawing/2014/main" id="{2A8393D3-3EF1-7C6E-9928-6B9A9A4F6471}"/>
              </a:ext>
            </a:extLst>
          </p:cNvPr>
          <p:cNvGraphicFramePr/>
          <p:nvPr/>
        </p:nvGraphicFramePr>
        <p:xfrm>
          <a:off x="5359292" y="201828"/>
          <a:ext cx="5849557" cy="56185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Rectangle : coins arrondis 3">
            <a:extLst>
              <a:ext uri="{FF2B5EF4-FFF2-40B4-BE49-F238E27FC236}">
                <a16:creationId xmlns:a16="http://schemas.microsoft.com/office/drawing/2014/main" id="{E7BEA8EE-C2CD-EEB3-3928-91DD2D213211}"/>
              </a:ext>
            </a:extLst>
          </p:cNvPr>
          <p:cNvSpPr/>
          <p:nvPr/>
        </p:nvSpPr>
        <p:spPr>
          <a:xfrm>
            <a:off x="5354740" y="6006798"/>
            <a:ext cx="5849557" cy="633319"/>
          </a:xfrm>
          <a:prstGeom prst="roundRect">
            <a:avLst>
              <a:gd name="adj" fmla="val 10000"/>
            </a:avLst>
          </a:prstGeom>
        </p:spPr>
        <p:style>
          <a:lnRef idx="0">
            <a:schemeClr val="dk1">
              <a:hueOff val="0"/>
              <a:satOff val="0"/>
              <a:lumOff val="0"/>
              <a:alphaOff val="0"/>
            </a:schemeClr>
          </a:lnRef>
          <a:fillRef idx="1">
            <a:schemeClr val="bg1">
              <a:lumMod val="95000"/>
              <a:hueOff val="0"/>
              <a:satOff val="0"/>
              <a:lumOff val="0"/>
              <a:alphaOff val="0"/>
            </a:schemeClr>
          </a:fillRef>
          <a:effectRef idx="0">
            <a:schemeClr val="bg1">
              <a:lumMod val="95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lvl="0" rtl="0">
              <a:lnSpc>
                <a:spcPct val="150000"/>
              </a:lnSpc>
            </a:pPr>
            <a:r>
              <a:rPr lang="fr-CA">
                <a:latin typeface="Calibri Light" panose="020F0302020204030204"/>
              </a:rPr>
              <a:t>              </a:t>
            </a:r>
            <a:r>
              <a:rPr lang="fr-CA" sz="1900">
                <a:solidFill>
                  <a:srgbClr val="2D2E83">
                    <a:hueOff val="0"/>
                    <a:satOff val="0"/>
                    <a:lumOff val="0"/>
                    <a:alphaOff val="0"/>
                  </a:srgbClr>
                </a:solidFill>
                <a:latin typeface="Calibri" panose="020F0502020204030204"/>
              </a:rPr>
              <a:t>Gestion de changement massive      </a:t>
            </a:r>
            <a:endParaRPr lang="en-US" sz="1900">
              <a:solidFill>
                <a:srgbClr val="2D2E83">
                  <a:hueOff val="0"/>
                  <a:satOff val="0"/>
                  <a:lumOff val="0"/>
                  <a:alphaOff val="0"/>
                </a:srgbClr>
              </a:solidFill>
              <a:latin typeface="Calibri" panose="020F0502020204030204"/>
            </a:endParaRPr>
          </a:p>
        </p:txBody>
      </p:sp>
      <p:sp>
        <p:nvSpPr>
          <p:cNvPr id="5" name="Rectangle 4" descr="Network Diagram">
            <a:extLst>
              <a:ext uri="{FF2B5EF4-FFF2-40B4-BE49-F238E27FC236}">
                <a16:creationId xmlns:a16="http://schemas.microsoft.com/office/drawing/2014/main" id="{BAF33D73-51B3-6825-296B-763E776A3D5E}"/>
              </a:ext>
            </a:extLst>
          </p:cNvPr>
          <p:cNvSpPr/>
          <p:nvPr/>
        </p:nvSpPr>
        <p:spPr>
          <a:xfrm>
            <a:off x="5581181" y="6154375"/>
            <a:ext cx="425955" cy="425955"/>
          </a:xfrm>
          <a:prstGeom prst="rect">
            <a:avLst/>
          </a:prstGeom>
          <a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-891163"/>
              <a:satOff val="15799"/>
              <a:lumOff val="8822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42485108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DF44E2D-E5F1-EE8F-5B5D-61530DE0A476}"/>
              </a:ext>
            </a:extLst>
          </p:cNvPr>
          <p:cNvSpPr/>
          <p:nvPr/>
        </p:nvSpPr>
        <p:spPr>
          <a:xfrm>
            <a:off x="0" y="0"/>
            <a:ext cx="503835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11" name="Titre 2">
            <a:extLst>
              <a:ext uri="{FF2B5EF4-FFF2-40B4-BE49-F238E27FC236}">
                <a16:creationId xmlns:a16="http://schemas.microsoft.com/office/drawing/2014/main" id="{7A55844A-DD84-0279-0DDB-55477D5579CB}"/>
              </a:ext>
            </a:extLst>
          </p:cNvPr>
          <p:cNvSpPr txBox="1">
            <a:spLocks/>
          </p:cNvSpPr>
          <p:nvPr/>
        </p:nvSpPr>
        <p:spPr>
          <a:xfrm>
            <a:off x="620375" y="525600"/>
            <a:ext cx="4472325" cy="36855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lang="fr-FR" sz="2000" b="1" dirty="0">
                <a:solidFill>
                  <a:srgbClr val="00778C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fr-FR" sz="2000" dirty="0">
                <a:solidFill>
                  <a:srgbClr val="00778C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PRESCRIPTEUR ÉLECTRONIQUE </a:t>
            </a:r>
            <a:br>
              <a:rPr lang="fr-FR" sz="2000" dirty="0">
                <a:solidFill>
                  <a:srgbClr val="00778C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</a:br>
            <a:r>
              <a:rPr lang="fr-FR" sz="2000" dirty="0">
                <a:solidFill>
                  <a:srgbClr val="00778C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EN IMAGERI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CBE9EBF8-C089-27E0-9256-13B1A44E51C5}"/>
              </a:ext>
            </a:extLst>
          </p:cNvPr>
          <p:cNvSpPr txBox="1">
            <a:spLocks/>
          </p:cNvSpPr>
          <p:nvPr/>
        </p:nvSpPr>
        <p:spPr>
          <a:xfrm>
            <a:off x="620375" y="2475281"/>
            <a:ext cx="4078625" cy="87970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CA" sz="1200" b="0" i="0" u="none" strike="noStrike" kern="1200">
                <a:solidFill>
                  <a:srgbClr val="00778C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fr-CA" sz="3200" dirty="0">
                <a:latin typeface="Roboto Light"/>
                <a:ea typeface="Roboto Light"/>
              </a:rPr>
              <a:t>Quels sont les bénéfices du projet?</a:t>
            </a:r>
            <a:endParaRPr lang="fr-CA" sz="2800" dirty="0">
              <a:latin typeface="Roboto Light"/>
              <a:ea typeface="Roboto Light"/>
            </a:endParaRPr>
          </a:p>
        </p:txBody>
      </p:sp>
      <p:sp>
        <p:nvSpPr>
          <p:cNvPr id="2" name="Espace réservé du contenu 2">
            <a:extLst>
              <a:ext uri="{FF2B5EF4-FFF2-40B4-BE49-F238E27FC236}">
                <a16:creationId xmlns:a16="http://schemas.microsoft.com/office/drawing/2014/main" id="{6FBD9C51-04C9-14A1-190E-E0C7203A01A5}"/>
              </a:ext>
            </a:extLst>
          </p:cNvPr>
          <p:cNvSpPr txBox="1">
            <a:spLocks/>
          </p:cNvSpPr>
          <p:nvPr/>
        </p:nvSpPr>
        <p:spPr>
          <a:xfrm>
            <a:off x="5689195" y="2441033"/>
            <a:ext cx="2594348" cy="101222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fr-CA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Light"/>
                <a:ea typeface="Roboto Light"/>
              </a:rPr>
              <a:t>Moderniser le processus de prescription </a:t>
            </a:r>
            <a:br>
              <a:rPr lang="fr-CA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Light"/>
                <a:ea typeface="Roboto Light"/>
              </a:rPr>
            </a:br>
            <a:r>
              <a:rPr lang="fr-CA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Light"/>
                <a:ea typeface="Roboto Light"/>
              </a:rPr>
              <a:t>en imagerie 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3E7CA24-BBA3-FC94-62D8-FE633FF3DC53}"/>
              </a:ext>
            </a:extLst>
          </p:cNvPr>
          <p:cNvSpPr txBox="1">
            <a:spLocks/>
          </p:cNvSpPr>
          <p:nvPr/>
        </p:nvSpPr>
        <p:spPr>
          <a:xfrm>
            <a:off x="8665972" y="2472613"/>
            <a:ext cx="3191421" cy="1012227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fr-CA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Light"/>
                <a:ea typeface="Roboto Light"/>
              </a:rPr>
              <a:t>Centraliser l’accès à l’information pour soutenir les prescripteurs dans leurs décisions </a:t>
            </a:r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56251015-25ED-1EC6-A8F0-0820176D9F65}"/>
              </a:ext>
            </a:extLst>
          </p:cNvPr>
          <p:cNvSpPr txBox="1">
            <a:spLocks/>
          </p:cNvSpPr>
          <p:nvPr/>
        </p:nvSpPr>
        <p:spPr>
          <a:xfrm>
            <a:off x="5555845" y="5241291"/>
            <a:ext cx="2861048" cy="1012227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fr-CA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Light"/>
                <a:ea typeface="Roboto Light"/>
              </a:rPr>
              <a:t>Filtrer les demandes en imagerie qui peuvent être moins appropriées</a:t>
            </a:r>
          </a:p>
          <a:p>
            <a:pPr marL="0" indent="0" algn="ctr">
              <a:buNone/>
            </a:pPr>
            <a:endParaRPr lang="fr-CA" sz="1600" dirty="0">
              <a:solidFill>
                <a:schemeClr val="tx1">
                  <a:lumMod val="75000"/>
                  <a:lumOff val="25000"/>
                </a:schemeClr>
              </a:solidFill>
              <a:latin typeface="Roboto Light"/>
              <a:ea typeface="Roboto Light"/>
            </a:endParaRPr>
          </a:p>
        </p:txBody>
      </p:sp>
      <p:sp>
        <p:nvSpPr>
          <p:cNvPr id="5" name="Espace réservé du contenu 2">
            <a:extLst>
              <a:ext uri="{FF2B5EF4-FFF2-40B4-BE49-F238E27FC236}">
                <a16:creationId xmlns:a16="http://schemas.microsoft.com/office/drawing/2014/main" id="{EE444D83-0A0B-AC79-01C8-EE708B94E255}"/>
              </a:ext>
            </a:extLst>
          </p:cNvPr>
          <p:cNvSpPr txBox="1">
            <a:spLocks/>
          </p:cNvSpPr>
          <p:nvPr/>
        </p:nvSpPr>
        <p:spPr>
          <a:xfrm>
            <a:off x="8848217" y="5227685"/>
            <a:ext cx="2861048" cy="1039441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fr-CA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Light"/>
                <a:ea typeface="Roboto Light"/>
              </a:rPr>
              <a:t>Offrir un accès en imagerie à des patients qui nécessitent des soins prioritaires 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96979FED-3532-0FEB-E721-97CF78F9A38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24" t="16351" r="60541" b="15002"/>
          <a:stretch/>
        </p:blipFill>
        <p:spPr>
          <a:xfrm>
            <a:off x="6391546" y="1081672"/>
            <a:ext cx="1189649" cy="1219897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76A3E21E-1910-77D2-1AEC-BFD24826227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5546" t="16351" r="8956" b="15002"/>
          <a:stretch/>
        </p:blipFill>
        <p:spPr>
          <a:xfrm>
            <a:off x="9728453" y="1140926"/>
            <a:ext cx="1154003" cy="116792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EF729EC5-DEF1-45E7-98D5-7B45D3DE039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871" t="25849" r="63268" b="15310"/>
          <a:stretch/>
        </p:blipFill>
        <p:spPr>
          <a:xfrm>
            <a:off x="6486056" y="3928655"/>
            <a:ext cx="1000625" cy="1239406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D9FF5E12-CF01-8280-9944-761342823A4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5691" t="15170" r="11696" b="16872"/>
          <a:stretch/>
        </p:blipFill>
        <p:spPr>
          <a:xfrm>
            <a:off x="9728453" y="3863731"/>
            <a:ext cx="1100576" cy="1200187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0D95CD03-3453-C259-3D67-81E72318C222}"/>
              </a:ext>
            </a:extLst>
          </p:cNvPr>
          <p:cNvSpPr/>
          <p:nvPr/>
        </p:nvSpPr>
        <p:spPr>
          <a:xfrm>
            <a:off x="11205766" y="6103082"/>
            <a:ext cx="651627" cy="492590"/>
          </a:xfrm>
          <a:prstGeom prst="rect">
            <a:avLst/>
          </a:prstGeom>
          <a:solidFill>
            <a:srgbClr val="E8F7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7AFAB616-B849-CBEF-948C-D14AD44E21A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54760" y="4548358"/>
            <a:ext cx="3240279" cy="2716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49331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C7C2071-0E38-9F8D-6EF9-A830276F917B}"/>
              </a:ext>
            </a:extLst>
          </p:cNvPr>
          <p:cNvSpPr/>
          <p:nvPr/>
        </p:nvSpPr>
        <p:spPr>
          <a:xfrm>
            <a:off x="6325797" y="1726023"/>
            <a:ext cx="5005725" cy="3582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0A6F9E7-505C-EAD2-42CB-296F7DFB1904}"/>
              </a:ext>
            </a:extLst>
          </p:cNvPr>
          <p:cNvSpPr/>
          <p:nvPr/>
        </p:nvSpPr>
        <p:spPr>
          <a:xfrm>
            <a:off x="582656" y="1709644"/>
            <a:ext cx="5005725" cy="35989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A"/>
          </a:p>
        </p:txBody>
      </p:sp>
      <p:sp>
        <p:nvSpPr>
          <p:cNvPr id="11" name="Titre 2">
            <a:extLst>
              <a:ext uri="{FF2B5EF4-FFF2-40B4-BE49-F238E27FC236}">
                <a16:creationId xmlns:a16="http://schemas.microsoft.com/office/drawing/2014/main" id="{7A55844A-DD84-0279-0DDB-55477D5579CB}"/>
              </a:ext>
            </a:extLst>
          </p:cNvPr>
          <p:cNvSpPr txBox="1">
            <a:spLocks/>
          </p:cNvSpPr>
          <p:nvPr/>
        </p:nvSpPr>
        <p:spPr>
          <a:xfrm>
            <a:off x="620375" y="525600"/>
            <a:ext cx="5005725" cy="36855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lang="fr-FR" sz="2000" b="1" dirty="0">
                <a:solidFill>
                  <a:srgbClr val="00778C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fr-FR" sz="2000" dirty="0">
                <a:solidFill>
                  <a:srgbClr val="00778C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PRESCRIPTEUR ÉLECTRONIQUE </a:t>
            </a:r>
            <a:br>
              <a:rPr lang="fr-FR" sz="2000" dirty="0">
                <a:solidFill>
                  <a:srgbClr val="00778C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</a:br>
            <a:r>
              <a:rPr lang="fr-FR" sz="2000" dirty="0">
                <a:solidFill>
                  <a:srgbClr val="00778C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EN IMAGERIE</a:t>
            </a: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CBE9EBF8-C089-27E0-9256-13B1A44E51C5}"/>
              </a:ext>
            </a:extLst>
          </p:cNvPr>
          <p:cNvSpPr txBox="1">
            <a:spLocks/>
          </p:cNvSpPr>
          <p:nvPr/>
        </p:nvSpPr>
        <p:spPr>
          <a:xfrm>
            <a:off x="903087" y="1976917"/>
            <a:ext cx="3611656" cy="87970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CA" sz="1200" b="0" i="0" u="none" strike="noStrike" kern="1200">
                <a:solidFill>
                  <a:srgbClr val="00778C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fr-CA" sz="3200" dirty="0">
                <a:latin typeface="Roboto Light"/>
                <a:ea typeface="Roboto Light"/>
              </a:rPr>
              <a:t>Faits saillants</a:t>
            </a:r>
            <a:endParaRPr lang="fr-CA" sz="2800" dirty="0">
              <a:latin typeface="Roboto Light"/>
              <a:ea typeface="Roboto Light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ACE4429-2B76-B5BF-0528-C746C638F845}"/>
              </a:ext>
            </a:extLst>
          </p:cNvPr>
          <p:cNvSpPr/>
          <p:nvPr/>
        </p:nvSpPr>
        <p:spPr>
          <a:xfrm>
            <a:off x="509666" y="5816184"/>
            <a:ext cx="1304144" cy="779488"/>
          </a:xfrm>
          <a:prstGeom prst="rect">
            <a:avLst/>
          </a:prstGeom>
          <a:solidFill>
            <a:srgbClr val="E8F7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Espace réservé du contenu 2">
            <a:extLst>
              <a:ext uri="{FF2B5EF4-FFF2-40B4-BE49-F238E27FC236}">
                <a16:creationId xmlns:a16="http://schemas.microsoft.com/office/drawing/2014/main" id="{6FBD9C51-04C9-14A1-190E-E0C7203A01A5}"/>
              </a:ext>
            </a:extLst>
          </p:cNvPr>
          <p:cNvSpPr txBox="1">
            <a:spLocks/>
          </p:cNvSpPr>
          <p:nvPr/>
        </p:nvSpPr>
        <p:spPr>
          <a:xfrm>
            <a:off x="903087" y="2739081"/>
            <a:ext cx="4430914" cy="101222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Light"/>
                <a:ea typeface="Roboto Light"/>
              </a:rPr>
              <a:t>Culture basée sur des données probantes et sur une collaboration étroite entre le personnel de la santé et celui des technologies de l’information</a:t>
            </a:r>
          </a:p>
          <a:p>
            <a:r>
              <a:rPr lang="fr-CA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Light"/>
                <a:ea typeface="Roboto Light"/>
              </a:rPr>
              <a:t>Structure organisationnelle multidisciplinaire qui implique des utilisateurs motivés</a:t>
            </a:r>
          </a:p>
          <a:p>
            <a:r>
              <a:rPr lang="fr-CA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Light"/>
                <a:ea typeface="Roboto Light"/>
              </a:rPr>
              <a:t>Reconnaissance de l’application de la pertinence dans la pratique médicale 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3E7CA24-BBA3-FC94-62D8-FE633FF3DC53}"/>
              </a:ext>
            </a:extLst>
          </p:cNvPr>
          <p:cNvSpPr txBox="1">
            <a:spLocks/>
          </p:cNvSpPr>
          <p:nvPr/>
        </p:nvSpPr>
        <p:spPr>
          <a:xfrm>
            <a:off x="6587995" y="2739081"/>
            <a:ext cx="4005383" cy="1012227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fr-CA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Light"/>
                <a:ea typeface="Roboto Light"/>
              </a:rPr>
              <a:t>Création d’un plan de communication pour soutenir la gestion de changement</a:t>
            </a:r>
          </a:p>
          <a:p>
            <a:pPr lvl="0"/>
            <a:r>
              <a:rPr lang="fr-CA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Light"/>
                <a:ea typeface="Roboto Light"/>
              </a:rPr>
              <a:t>Intégration de l’aide à la décision au déroulement du travail des professionnels</a:t>
            </a:r>
          </a:p>
          <a:p>
            <a:r>
              <a:rPr lang="fr-CA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Light"/>
                <a:ea typeface="Roboto Light"/>
              </a:rPr>
              <a:t>Disponibilité des formateurs ainsi que le soutien provenant de ressources médicales et informatiques</a:t>
            </a:r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307DFBC-78DF-4B85-2120-E6819D0FBA46}"/>
              </a:ext>
            </a:extLst>
          </p:cNvPr>
          <p:cNvSpPr txBox="1">
            <a:spLocks/>
          </p:cNvSpPr>
          <p:nvPr/>
        </p:nvSpPr>
        <p:spPr>
          <a:xfrm>
            <a:off x="6587995" y="1976918"/>
            <a:ext cx="3611656" cy="87970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CA" sz="1200" b="0" i="0" u="none" strike="noStrike" kern="1200">
                <a:solidFill>
                  <a:srgbClr val="00778C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fr-CA" sz="3200" dirty="0">
                <a:latin typeface="Roboto Light"/>
                <a:ea typeface="Roboto Light"/>
              </a:rPr>
              <a:t>Considérations</a:t>
            </a:r>
            <a:endParaRPr lang="fr-CA" sz="2800" dirty="0">
              <a:latin typeface="Roboto Light"/>
              <a:ea typeface="Roboto Ligh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86A69A4-2C50-8F48-4052-4083C5C14D17}"/>
              </a:ext>
            </a:extLst>
          </p:cNvPr>
          <p:cNvSpPr/>
          <p:nvPr/>
        </p:nvSpPr>
        <p:spPr>
          <a:xfrm>
            <a:off x="11024558" y="6107502"/>
            <a:ext cx="651627" cy="492590"/>
          </a:xfrm>
          <a:prstGeom prst="rect">
            <a:avLst/>
          </a:prstGeom>
          <a:solidFill>
            <a:srgbClr val="E8F7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CF44BE0E-3CD3-403C-CCD5-43BD261A1F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54760" y="4548358"/>
            <a:ext cx="3240279" cy="2716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84648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5B3834C1-6337-42D5-8433-B73A3D20FB86}"/>
              </a:ext>
            </a:extLst>
          </p:cNvPr>
          <p:cNvSpPr/>
          <p:nvPr/>
        </p:nvSpPr>
        <p:spPr>
          <a:xfrm flipH="1">
            <a:off x="1874559" y="2137142"/>
            <a:ext cx="63613" cy="2393499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61" h="6187">
                <a:moveTo>
                  <a:pt x="61" y="6187"/>
                </a:moveTo>
                <a:lnTo>
                  <a:pt x="0" y="6187"/>
                </a:lnTo>
                <a:lnTo>
                  <a:pt x="0" y="0"/>
                </a:lnTo>
                <a:lnTo>
                  <a:pt x="61" y="0"/>
                </a:lnTo>
                <a:close/>
              </a:path>
            </a:pathLst>
          </a:custGeom>
          <a:solidFill>
            <a:schemeClr val="accent6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Poppins" panose="00000500000000000000" pitchFamily="2" charset="0"/>
              <a:ea typeface="Microsoft YaHei" pitchFamily="2"/>
              <a:cs typeface="Lucida Sans" pitchFamily="2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3AEAE1D-BBE2-4EC0-840C-A25EC7E6A4D3}"/>
              </a:ext>
            </a:extLst>
          </p:cNvPr>
          <p:cNvSpPr/>
          <p:nvPr/>
        </p:nvSpPr>
        <p:spPr>
          <a:xfrm>
            <a:off x="1527683" y="2131572"/>
            <a:ext cx="9136637" cy="83094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4669" h="1335">
                <a:moveTo>
                  <a:pt x="14038" y="1335"/>
                </a:moveTo>
                <a:lnTo>
                  <a:pt x="631" y="1335"/>
                </a:lnTo>
                <a:cubicBezTo>
                  <a:pt x="283" y="1335"/>
                  <a:pt x="0" y="1052"/>
                  <a:pt x="0" y="704"/>
                </a:cubicBezTo>
                <a:lnTo>
                  <a:pt x="0" y="631"/>
                </a:lnTo>
                <a:cubicBezTo>
                  <a:pt x="0" y="282"/>
                  <a:pt x="283" y="0"/>
                  <a:pt x="631" y="0"/>
                </a:cubicBezTo>
                <a:lnTo>
                  <a:pt x="14038" y="0"/>
                </a:lnTo>
                <a:cubicBezTo>
                  <a:pt x="14386" y="0"/>
                  <a:pt x="14669" y="282"/>
                  <a:pt x="14669" y="631"/>
                </a:cubicBezTo>
                <a:lnTo>
                  <a:pt x="14669" y="704"/>
                </a:lnTo>
                <a:cubicBezTo>
                  <a:pt x="14669" y="1052"/>
                  <a:pt x="14386" y="1335"/>
                  <a:pt x="14038" y="1335"/>
                </a:cubicBezTo>
                <a:close/>
              </a:path>
            </a:pathLst>
          </a:custGeom>
          <a:solidFill>
            <a:schemeClr val="accent3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Poppins" panose="00000500000000000000" pitchFamily="2" charset="0"/>
              <a:ea typeface="Microsoft YaHei" pitchFamily="2"/>
              <a:cs typeface="Lucida Sans" pitchFamily="2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8D786547-7A21-4E14-A58E-0498B02029C3}"/>
              </a:ext>
            </a:extLst>
          </p:cNvPr>
          <p:cNvSpPr/>
          <p:nvPr/>
        </p:nvSpPr>
        <p:spPr>
          <a:xfrm>
            <a:off x="1527683" y="3113256"/>
            <a:ext cx="9136637" cy="830943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4669" h="1335">
                <a:moveTo>
                  <a:pt x="14038" y="1335"/>
                </a:moveTo>
                <a:lnTo>
                  <a:pt x="631" y="1335"/>
                </a:lnTo>
                <a:cubicBezTo>
                  <a:pt x="283" y="1335"/>
                  <a:pt x="0" y="1052"/>
                  <a:pt x="0" y="704"/>
                </a:cubicBezTo>
                <a:lnTo>
                  <a:pt x="0" y="631"/>
                </a:lnTo>
                <a:cubicBezTo>
                  <a:pt x="0" y="283"/>
                  <a:pt x="283" y="0"/>
                  <a:pt x="631" y="0"/>
                </a:cubicBezTo>
                <a:lnTo>
                  <a:pt x="14038" y="0"/>
                </a:lnTo>
                <a:cubicBezTo>
                  <a:pt x="14386" y="0"/>
                  <a:pt x="14669" y="283"/>
                  <a:pt x="14669" y="631"/>
                </a:cubicBezTo>
                <a:lnTo>
                  <a:pt x="14669" y="704"/>
                </a:lnTo>
                <a:cubicBezTo>
                  <a:pt x="14669" y="1052"/>
                  <a:pt x="14386" y="1335"/>
                  <a:pt x="14038" y="1335"/>
                </a:cubicBezTo>
                <a:close/>
              </a:path>
            </a:pathLst>
          </a:custGeom>
          <a:solidFill>
            <a:schemeClr val="accent4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Poppins" panose="00000500000000000000" pitchFamily="2" charset="0"/>
              <a:ea typeface="Microsoft YaHei" pitchFamily="2"/>
              <a:cs typeface="Lucida Sans" pitchFamily="2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D60E29F-DE8A-469C-8A07-5658ED0DA46F}"/>
              </a:ext>
            </a:extLst>
          </p:cNvPr>
          <p:cNvSpPr/>
          <p:nvPr/>
        </p:nvSpPr>
        <p:spPr>
          <a:xfrm>
            <a:off x="1527683" y="4135428"/>
            <a:ext cx="9136637" cy="83032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4669" h="1334">
                <a:moveTo>
                  <a:pt x="14038" y="1334"/>
                </a:moveTo>
                <a:lnTo>
                  <a:pt x="631" y="1334"/>
                </a:lnTo>
                <a:cubicBezTo>
                  <a:pt x="283" y="1334"/>
                  <a:pt x="0" y="1052"/>
                  <a:pt x="0" y="704"/>
                </a:cubicBezTo>
                <a:lnTo>
                  <a:pt x="0" y="631"/>
                </a:lnTo>
                <a:cubicBezTo>
                  <a:pt x="0" y="282"/>
                  <a:pt x="283" y="0"/>
                  <a:pt x="631" y="0"/>
                </a:cubicBezTo>
                <a:lnTo>
                  <a:pt x="14038" y="0"/>
                </a:lnTo>
                <a:cubicBezTo>
                  <a:pt x="14386" y="0"/>
                  <a:pt x="14669" y="282"/>
                  <a:pt x="14669" y="631"/>
                </a:cubicBezTo>
                <a:lnTo>
                  <a:pt x="14669" y="704"/>
                </a:lnTo>
                <a:cubicBezTo>
                  <a:pt x="14669" y="1052"/>
                  <a:pt x="14386" y="1334"/>
                  <a:pt x="14038" y="1334"/>
                </a:cubicBezTo>
                <a:close/>
              </a:path>
            </a:pathLst>
          </a:custGeom>
          <a:solidFill>
            <a:schemeClr val="accent5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Poppins" panose="00000500000000000000" pitchFamily="2" charset="0"/>
              <a:ea typeface="Microsoft YaHei" pitchFamily="2"/>
              <a:cs typeface="Lucida Sans" pitchFamily="2"/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E2515B8D-CFDA-4387-AD2C-E892CB3B59D8}"/>
              </a:ext>
            </a:extLst>
          </p:cNvPr>
          <p:cNvSpPr/>
          <p:nvPr/>
        </p:nvSpPr>
        <p:spPr>
          <a:xfrm>
            <a:off x="1632954" y="2223138"/>
            <a:ext cx="647189" cy="647189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040" h="1040">
                <a:moveTo>
                  <a:pt x="1040" y="520"/>
                </a:moveTo>
                <a:cubicBezTo>
                  <a:pt x="1040" y="807"/>
                  <a:pt x="807" y="1040"/>
                  <a:pt x="520" y="1040"/>
                </a:cubicBezTo>
                <a:cubicBezTo>
                  <a:pt x="233" y="1040"/>
                  <a:pt x="0" y="807"/>
                  <a:pt x="0" y="520"/>
                </a:cubicBezTo>
                <a:cubicBezTo>
                  <a:pt x="0" y="233"/>
                  <a:pt x="233" y="0"/>
                  <a:pt x="520" y="0"/>
                </a:cubicBezTo>
                <a:cubicBezTo>
                  <a:pt x="807" y="0"/>
                  <a:pt x="1040" y="233"/>
                  <a:pt x="1040" y="520"/>
                </a:cubicBezTo>
                <a:close/>
              </a:path>
            </a:pathLst>
          </a:custGeom>
          <a:solidFill>
            <a:schemeClr val="bg1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r>
              <a:rPr lang="en-US" sz="1600" dirty="0">
                <a:latin typeface="Poppins"/>
                <a:ea typeface="Microsoft YaHei"/>
                <a:cs typeface="Lucida Sans" pitchFamily="2"/>
              </a:rPr>
              <a:t>    *</a:t>
            </a: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94E190AC-9E32-4470-B855-9DA4590A122A}"/>
              </a:ext>
            </a:extLst>
          </p:cNvPr>
          <p:cNvSpPr/>
          <p:nvPr/>
        </p:nvSpPr>
        <p:spPr>
          <a:xfrm>
            <a:off x="1632954" y="3205444"/>
            <a:ext cx="647189" cy="646566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040" h="1039">
                <a:moveTo>
                  <a:pt x="1040" y="520"/>
                </a:moveTo>
                <a:cubicBezTo>
                  <a:pt x="1040" y="807"/>
                  <a:pt x="807" y="1039"/>
                  <a:pt x="520" y="1039"/>
                </a:cubicBezTo>
                <a:cubicBezTo>
                  <a:pt x="233" y="1039"/>
                  <a:pt x="0" y="807"/>
                  <a:pt x="0" y="520"/>
                </a:cubicBezTo>
                <a:cubicBezTo>
                  <a:pt x="0" y="233"/>
                  <a:pt x="233" y="0"/>
                  <a:pt x="520" y="0"/>
                </a:cubicBezTo>
                <a:cubicBezTo>
                  <a:pt x="807" y="0"/>
                  <a:pt x="1040" y="233"/>
                  <a:pt x="1040" y="520"/>
                </a:cubicBezTo>
                <a:close/>
              </a:path>
            </a:pathLst>
          </a:custGeom>
          <a:solidFill>
            <a:schemeClr val="bg1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r>
              <a:rPr lang="en-US" sz="1600" dirty="0">
                <a:latin typeface="Poppins"/>
                <a:ea typeface="Microsoft YaHei"/>
                <a:cs typeface="Lucida Sans" pitchFamily="2"/>
              </a:rPr>
              <a:t>   **</a:t>
            </a: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6F778829-A52C-48CA-BCA4-F811994C9C8C}"/>
              </a:ext>
            </a:extLst>
          </p:cNvPr>
          <p:cNvSpPr/>
          <p:nvPr/>
        </p:nvSpPr>
        <p:spPr>
          <a:xfrm>
            <a:off x="1632954" y="4227616"/>
            <a:ext cx="647189" cy="646566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040" h="1039">
                <a:moveTo>
                  <a:pt x="1040" y="519"/>
                </a:moveTo>
                <a:cubicBezTo>
                  <a:pt x="1040" y="807"/>
                  <a:pt x="807" y="1039"/>
                  <a:pt x="520" y="1039"/>
                </a:cubicBezTo>
                <a:cubicBezTo>
                  <a:pt x="233" y="1039"/>
                  <a:pt x="0" y="807"/>
                  <a:pt x="0" y="519"/>
                </a:cubicBezTo>
                <a:cubicBezTo>
                  <a:pt x="0" y="232"/>
                  <a:pt x="233" y="0"/>
                  <a:pt x="520" y="0"/>
                </a:cubicBezTo>
                <a:cubicBezTo>
                  <a:pt x="807" y="0"/>
                  <a:pt x="1040" y="232"/>
                  <a:pt x="1040" y="519"/>
                </a:cubicBezTo>
                <a:close/>
              </a:path>
            </a:pathLst>
          </a:custGeom>
          <a:solidFill>
            <a:schemeClr val="bg1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r>
              <a:rPr lang="en-US" sz="1600" dirty="0">
                <a:latin typeface="Poppins"/>
                <a:ea typeface="Microsoft YaHei"/>
                <a:cs typeface="Lucida Sans" pitchFamily="2"/>
              </a:rPr>
              <a:t>  ***</a:t>
            </a: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B5A49952-080E-4C39-858B-CC62C5AC7D5E}"/>
              </a:ext>
            </a:extLst>
          </p:cNvPr>
          <p:cNvSpPr/>
          <p:nvPr/>
        </p:nvSpPr>
        <p:spPr>
          <a:xfrm>
            <a:off x="9936156" y="2223138"/>
            <a:ext cx="647189" cy="647189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040" h="1040">
                <a:moveTo>
                  <a:pt x="1040" y="520"/>
                </a:moveTo>
                <a:cubicBezTo>
                  <a:pt x="1040" y="807"/>
                  <a:pt x="807" y="1040"/>
                  <a:pt x="519" y="1040"/>
                </a:cubicBezTo>
                <a:cubicBezTo>
                  <a:pt x="233" y="1040"/>
                  <a:pt x="0" y="807"/>
                  <a:pt x="0" y="520"/>
                </a:cubicBezTo>
                <a:cubicBezTo>
                  <a:pt x="0" y="233"/>
                  <a:pt x="233" y="0"/>
                  <a:pt x="519" y="0"/>
                </a:cubicBezTo>
                <a:cubicBezTo>
                  <a:pt x="807" y="0"/>
                  <a:pt x="1040" y="233"/>
                  <a:pt x="1040" y="520"/>
                </a:cubicBezTo>
                <a:close/>
              </a:path>
            </a:pathLst>
          </a:custGeom>
          <a:solidFill>
            <a:schemeClr val="bg1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Poppins" panose="00000500000000000000" pitchFamily="2" charset="0"/>
              <a:ea typeface="Microsoft YaHei" pitchFamily="2"/>
              <a:cs typeface="Lucida Sans" pitchFamily="2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8F82440F-EFD3-4A45-840A-703D7AA3B302}"/>
              </a:ext>
            </a:extLst>
          </p:cNvPr>
          <p:cNvSpPr/>
          <p:nvPr/>
        </p:nvSpPr>
        <p:spPr>
          <a:xfrm>
            <a:off x="9936156" y="3205444"/>
            <a:ext cx="647189" cy="646566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040" h="1039">
                <a:moveTo>
                  <a:pt x="1040" y="520"/>
                </a:moveTo>
                <a:cubicBezTo>
                  <a:pt x="1040" y="807"/>
                  <a:pt x="807" y="1039"/>
                  <a:pt x="519" y="1039"/>
                </a:cubicBezTo>
                <a:cubicBezTo>
                  <a:pt x="233" y="1039"/>
                  <a:pt x="0" y="807"/>
                  <a:pt x="0" y="520"/>
                </a:cubicBezTo>
                <a:cubicBezTo>
                  <a:pt x="0" y="233"/>
                  <a:pt x="233" y="0"/>
                  <a:pt x="519" y="0"/>
                </a:cubicBezTo>
                <a:cubicBezTo>
                  <a:pt x="807" y="0"/>
                  <a:pt x="1040" y="233"/>
                  <a:pt x="1040" y="520"/>
                </a:cubicBezTo>
                <a:close/>
              </a:path>
            </a:pathLst>
          </a:custGeom>
          <a:solidFill>
            <a:schemeClr val="bg1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Poppins" panose="00000500000000000000" pitchFamily="2" charset="0"/>
              <a:ea typeface="Microsoft YaHei" pitchFamily="2"/>
              <a:cs typeface="Lucida Sans" pitchFamily="2"/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53EE88B2-44BC-4A4C-86AD-863C234062CC}"/>
              </a:ext>
            </a:extLst>
          </p:cNvPr>
          <p:cNvSpPr/>
          <p:nvPr/>
        </p:nvSpPr>
        <p:spPr>
          <a:xfrm>
            <a:off x="9936156" y="4227616"/>
            <a:ext cx="647189" cy="646566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1040" h="1039">
                <a:moveTo>
                  <a:pt x="1040" y="519"/>
                </a:moveTo>
                <a:cubicBezTo>
                  <a:pt x="1040" y="807"/>
                  <a:pt x="807" y="1039"/>
                  <a:pt x="519" y="1039"/>
                </a:cubicBezTo>
                <a:cubicBezTo>
                  <a:pt x="233" y="1039"/>
                  <a:pt x="0" y="807"/>
                  <a:pt x="0" y="519"/>
                </a:cubicBezTo>
                <a:cubicBezTo>
                  <a:pt x="0" y="232"/>
                  <a:pt x="233" y="0"/>
                  <a:pt x="519" y="0"/>
                </a:cubicBezTo>
                <a:cubicBezTo>
                  <a:pt x="807" y="0"/>
                  <a:pt x="1040" y="232"/>
                  <a:pt x="1040" y="519"/>
                </a:cubicBezTo>
                <a:close/>
              </a:path>
            </a:pathLst>
          </a:custGeom>
          <a:solidFill>
            <a:schemeClr val="bg1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Poppins" panose="00000500000000000000" pitchFamily="2" charset="0"/>
              <a:ea typeface="Microsoft YaHei" pitchFamily="2"/>
              <a:cs typeface="Lucida Sans" pitchFamily="2"/>
            </a:endParaRPr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8F272BE0-59F8-4088-BDFB-0BF0FC9C6B64}"/>
              </a:ext>
            </a:extLst>
          </p:cNvPr>
          <p:cNvSpPr/>
          <p:nvPr/>
        </p:nvSpPr>
        <p:spPr>
          <a:xfrm>
            <a:off x="6084791" y="2277952"/>
            <a:ext cx="23670" cy="537559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39" h="864">
                <a:moveTo>
                  <a:pt x="19" y="864"/>
                </a:moveTo>
                <a:cubicBezTo>
                  <a:pt x="9" y="864"/>
                  <a:pt x="0" y="855"/>
                  <a:pt x="0" y="845"/>
                </a:cubicBezTo>
                <a:lnTo>
                  <a:pt x="0" y="20"/>
                </a:lnTo>
                <a:cubicBezTo>
                  <a:pt x="0" y="9"/>
                  <a:pt x="9" y="0"/>
                  <a:pt x="19" y="0"/>
                </a:cubicBezTo>
                <a:cubicBezTo>
                  <a:pt x="30" y="0"/>
                  <a:pt x="39" y="9"/>
                  <a:pt x="39" y="20"/>
                </a:cubicBezTo>
                <a:lnTo>
                  <a:pt x="39" y="845"/>
                </a:lnTo>
                <a:cubicBezTo>
                  <a:pt x="39" y="855"/>
                  <a:pt x="30" y="864"/>
                  <a:pt x="19" y="864"/>
                </a:cubicBezTo>
                <a:close/>
              </a:path>
            </a:pathLst>
          </a:custGeom>
          <a:solidFill>
            <a:schemeClr val="bg1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Poppins" panose="00000500000000000000" pitchFamily="2" charset="0"/>
              <a:ea typeface="Microsoft YaHei" pitchFamily="2"/>
              <a:cs typeface="Lucida Sans" pitchFamily="2"/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5C205B5A-D499-4361-BFA9-FFEA7A2EE18E}"/>
              </a:ext>
            </a:extLst>
          </p:cNvPr>
          <p:cNvSpPr/>
          <p:nvPr/>
        </p:nvSpPr>
        <p:spPr>
          <a:xfrm>
            <a:off x="6084791" y="3260259"/>
            <a:ext cx="23670" cy="536936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39" h="863">
                <a:moveTo>
                  <a:pt x="19" y="863"/>
                </a:moveTo>
                <a:cubicBezTo>
                  <a:pt x="9" y="863"/>
                  <a:pt x="0" y="855"/>
                  <a:pt x="0" y="844"/>
                </a:cubicBezTo>
                <a:lnTo>
                  <a:pt x="0" y="19"/>
                </a:lnTo>
                <a:cubicBezTo>
                  <a:pt x="0" y="8"/>
                  <a:pt x="9" y="0"/>
                  <a:pt x="19" y="0"/>
                </a:cubicBezTo>
                <a:cubicBezTo>
                  <a:pt x="30" y="0"/>
                  <a:pt x="39" y="8"/>
                  <a:pt x="39" y="19"/>
                </a:cubicBezTo>
                <a:lnTo>
                  <a:pt x="39" y="844"/>
                </a:lnTo>
                <a:cubicBezTo>
                  <a:pt x="39" y="855"/>
                  <a:pt x="30" y="863"/>
                  <a:pt x="19" y="863"/>
                </a:cubicBezTo>
                <a:close/>
              </a:path>
            </a:pathLst>
          </a:custGeom>
          <a:solidFill>
            <a:schemeClr val="bg1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Poppins" panose="00000500000000000000" pitchFamily="2" charset="0"/>
              <a:ea typeface="Microsoft YaHei" pitchFamily="2"/>
              <a:cs typeface="Lucida Sans" pitchFamily="2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E520C526-D00D-45F3-B6B1-82CD3D125A3F}"/>
              </a:ext>
            </a:extLst>
          </p:cNvPr>
          <p:cNvSpPr/>
          <p:nvPr/>
        </p:nvSpPr>
        <p:spPr>
          <a:xfrm>
            <a:off x="6084791" y="4281808"/>
            <a:ext cx="23670" cy="538182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39" h="865">
                <a:moveTo>
                  <a:pt x="19" y="865"/>
                </a:moveTo>
                <a:cubicBezTo>
                  <a:pt x="9" y="865"/>
                  <a:pt x="0" y="856"/>
                  <a:pt x="0" y="845"/>
                </a:cubicBezTo>
                <a:lnTo>
                  <a:pt x="0" y="20"/>
                </a:lnTo>
                <a:cubicBezTo>
                  <a:pt x="0" y="9"/>
                  <a:pt x="9" y="0"/>
                  <a:pt x="19" y="0"/>
                </a:cubicBezTo>
                <a:cubicBezTo>
                  <a:pt x="30" y="0"/>
                  <a:pt x="39" y="9"/>
                  <a:pt x="39" y="20"/>
                </a:cubicBezTo>
                <a:lnTo>
                  <a:pt x="39" y="845"/>
                </a:lnTo>
                <a:cubicBezTo>
                  <a:pt x="39" y="856"/>
                  <a:pt x="30" y="865"/>
                  <a:pt x="19" y="865"/>
                </a:cubicBezTo>
                <a:close/>
              </a:path>
            </a:pathLst>
          </a:custGeom>
          <a:solidFill>
            <a:schemeClr val="bg1"/>
          </a:solidFill>
          <a:ln cap="flat">
            <a:noFill/>
            <a:prstDash val="solid"/>
          </a:ln>
        </p:spPr>
        <p:txBody>
          <a:bodyPr vert="horz" wrap="none" lIns="45000" tIns="22500" rIns="45000" bIns="22500" anchor="ctr" anchorCtr="1" compatLnSpc="0"/>
          <a:lstStyle/>
          <a:p>
            <a:pPr hangingPunct="0"/>
            <a:endParaRPr lang="en-US" sz="900">
              <a:latin typeface="Poppins" panose="00000500000000000000" pitchFamily="2" charset="0"/>
              <a:ea typeface="Microsoft YaHei" pitchFamily="2"/>
              <a:cs typeface="Lucida Sans" pitchFamily="2"/>
            </a:endParaRPr>
          </a:p>
        </p:txBody>
      </p:sp>
      <p:sp>
        <p:nvSpPr>
          <p:cNvPr id="99" name="Freeform: Shape 98">
            <a:extLst>
              <a:ext uri="{FF2B5EF4-FFF2-40B4-BE49-F238E27FC236}">
                <a16:creationId xmlns:a16="http://schemas.microsoft.com/office/drawing/2014/main" id="{8ECF3F77-8F28-4E83-99B6-DB345607D8C1}"/>
              </a:ext>
            </a:extLst>
          </p:cNvPr>
          <p:cNvSpPr/>
          <p:nvPr/>
        </p:nvSpPr>
        <p:spPr>
          <a:xfrm>
            <a:off x="10047032" y="4355932"/>
            <a:ext cx="424815" cy="389931"/>
          </a:xfrm>
          <a:custGeom>
            <a:avLst/>
            <a:gdLst>
              <a:gd name="connsiteX0" fmla="*/ 53490 w 849630"/>
              <a:gd name="connsiteY0" fmla="*/ 485855 h 779862"/>
              <a:gd name="connsiteX1" fmla="*/ 92054 w 849630"/>
              <a:gd name="connsiteY1" fmla="*/ 485855 h 779862"/>
              <a:gd name="connsiteX2" fmla="*/ 123152 w 849630"/>
              <a:gd name="connsiteY2" fmla="*/ 498260 h 779862"/>
              <a:gd name="connsiteX3" fmla="*/ 202766 w 849630"/>
              <a:gd name="connsiteY3" fmla="*/ 572693 h 779862"/>
              <a:gd name="connsiteX4" fmla="*/ 218938 w 849630"/>
              <a:gd name="connsiteY4" fmla="*/ 580136 h 779862"/>
              <a:gd name="connsiteX5" fmla="*/ 310992 w 849630"/>
              <a:gd name="connsiteY5" fmla="*/ 580136 h 779862"/>
              <a:gd name="connsiteX6" fmla="*/ 358262 w 849630"/>
              <a:gd name="connsiteY6" fmla="*/ 621073 h 779862"/>
              <a:gd name="connsiteX7" fmla="*/ 345824 w 849630"/>
              <a:gd name="connsiteY7" fmla="*/ 655808 h 779862"/>
              <a:gd name="connsiteX8" fmla="*/ 312236 w 849630"/>
              <a:gd name="connsiteY8" fmla="*/ 669454 h 779862"/>
              <a:gd name="connsiteX9" fmla="*/ 190328 w 849630"/>
              <a:gd name="connsiteY9" fmla="*/ 669454 h 779862"/>
              <a:gd name="connsiteX10" fmla="*/ 160472 w 849630"/>
              <a:gd name="connsiteY10" fmla="*/ 658289 h 779862"/>
              <a:gd name="connsiteX11" fmla="*/ 140568 w 849630"/>
              <a:gd name="connsiteY11" fmla="*/ 638441 h 779862"/>
              <a:gd name="connsiteX12" fmla="*/ 150520 w 849630"/>
              <a:gd name="connsiteY12" fmla="*/ 678138 h 779862"/>
              <a:gd name="connsiteX13" fmla="*/ 699110 w 849630"/>
              <a:gd name="connsiteY13" fmla="*/ 678138 h 779862"/>
              <a:gd name="connsiteX14" fmla="*/ 709062 w 849630"/>
              <a:gd name="connsiteY14" fmla="*/ 638441 h 779862"/>
              <a:gd name="connsiteX15" fmla="*/ 690402 w 849630"/>
              <a:gd name="connsiteY15" fmla="*/ 658289 h 779862"/>
              <a:gd name="connsiteX16" fmla="*/ 659302 w 849630"/>
              <a:gd name="connsiteY16" fmla="*/ 669454 h 779862"/>
              <a:gd name="connsiteX17" fmla="*/ 537394 w 849630"/>
              <a:gd name="connsiteY17" fmla="*/ 669454 h 779862"/>
              <a:gd name="connsiteX18" fmla="*/ 503806 w 849630"/>
              <a:gd name="connsiteY18" fmla="*/ 655808 h 779862"/>
              <a:gd name="connsiteX19" fmla="*/ 492612 w 849630"/>
              <a:gd name="connsiteY19" fmla="*/ 621073 h 779862"/>
              <a:gd name="connsiteX20" fmla="*/ 538638 w 849630"/>
              <a:gd name="connsiteY20" fmla="*/ 580136 h 779862"/>
              <a:gd name="connsiteX21" fmla="*/ 630692 w 849630"/>
              <a:gd name="connsiteY21" fmla="*/ 580136 h 779862"/>
              <a:gd name="connsiteX22" fmla="*/ 645620 w 849630"/>
              <a:gd name="connsiteY22" fmla="*/ 572693 h 779862"/>
              <a:gd name="connsiteX23" fmla="*/ 726478 w 849630"/>
              <a:gd name="connsiteY23" fmla="*/ 498260 h 779862"/>
              <a:gd name="connsiteX24" fmla="*/ 757576 w 849630"/>
              <a:gd name="connsiteY24" fmla="*/ 485855 h 779862"/>
              <a:gd name="connsiteX25" fmla="*/ 797384 w 849630"/>
              <a:gd name="connsiteY25" fmla="*/ 485855 h 779862"/>
              <a:gd name="connsiteX26" fmla="*/ 849630 w 849630"/>
              <a:gd name="connsiteY26" fmla="*/ 539198 h 779862"/>
              <a:gd name="connsiteX27" fmla="*/ 849630 w 849630"/>
              <a:gd name="connsiteY27" fmla="*/ 768697 h 779862"/>
              <a:gd name="connsiteX28" fmla="*/ 839678 w 849630"/>
              <a:gd name="connsiteY28" fmla="*/ 779862 h 779862"/>
              <a:gd name="connsiteX29" fmla="*/ 828482 w 849630"/>
              <a:gd name="connsiteY29" fmla="*/ 768697 h 779862"/>
              <a:gd name="connsiteX30" fmla="*/ 828482 w 849630"/>
              <a:gd name="connsiteY30" fmla="*/ 539198 h 779862"/>
              <a:gd name="connsiteX31" fmla="*/ 797384 w 849630"/>
              <a:gd name="connsiteY31" fmla="*/ 508185 h 779862"/>
              <a:gd name="connsiteX32" fmla="*/ 757576 w 849630"/>
              <a:gd name="connsiteY32" fmla="*/ 508185 h 779862"/>
              <a:gd name="connsiteX33" fmla="*/ 740160 w 849630"/>
              <a:gd name="connsiteY33" fmla="*/ 513147 h 779862"/>
              <a:gd name="connsiteX34" fmla="*/ 661790 w 849630"/>
              <a:gd name="connsiteY34" fmla="*/ 587579 h 779862"/>
              <a:gd name="connsiteX35" fmla="*/ 630692 w 849630"/>
              <a:gd name="connsiteY35" fmla="*/ 599984 h 779862"/>
              <a:gd name="connsiteX36" fmla="*/ 538638 w 849630"/>
              <a:gd name="connsiteY36" fmla="*/ 599984 h 779862"/>
              <a:gd name="connsiteX37" fmla="*/ 513758 w 849630"/>
              <a:gd name="connsiteY37" fmla="*/ 622314 h 779862"/>
              <a:gd name="connsiteX38" fmla="*/ 519978 w 849630"/>
              <a:gd name="connsiteY38" fmla="*/ 640922 h 779862"/>
              <a:gd name="connsiteX39" fmla="*/ 537394 w 849630"/>
              <a:gd name="connsiteY39" fmla="*/ 649606 h 779862"/>
              <a:gd name="connsiteX40" fmla="*/ 659302 w 849630"/>
              <a:gd name="connsiteY40" fmla="*/ 649606 h 779862"/>
              <a:gd name="connsiteX41" fmla="*/ 675474 w 849630"/>
              <a:gd name="connsiteY41" fmla="*/ 642163 h 779862"/>
              <a:gd name="connsiteX42" fmla="*/ 776236 w 849630"/>
              <a:gd name="connsiteY42" fmla="*/ 541679 h 779862"/>
              <a:gd name="connsiteX43" fmla="*/ 791164 w 849630"/>
              <a:gd name="connsiteY43" fmla="*/ 541679 h 779862"/>
              <a:gd name="connsiteX44" fmla="*/ 791164 w 849630"/>
              <a:gd name="connsiteY44" fmla="*/ 556566 h 779862"/>
              <a:gd name="connsiteX45" fmla="*/ 737672 w 849630"/>
              <a:gd name="connsiteY45" fmla="*/ 609909 h 779862"/>
              <a:gd name="connsiteX46" fmla="*/ 737672 w 849630"/>
              <a:gd name="connsiteY46" fmla="*/ 611149 h 779862"/>
              <a:gd name="connsiteX47" fmla="*/ 720258 w 849630"/>
              <a:gd name="connsiteY47" fmla="*/ 678138 h 779862"/>
              <a:gd name="connsiteX48" fmla="*/ 771260 w 849630"/>
              <a:gd name="connsiteY48" fmla="*/ 678138 h 779862"/>
              <a:gd name="connsiteX49" fmla="*/ 781212 w 849630"/>
              <a:gd name="connsiteY49" fmla="*/ 689303 h 779862"/>
              <a:gd name="connsiteX50" fmla="*/ 771260 w 849630"/>
              <a:gd name="connsiteY50" fmla="*/ 697987 h 779862"/>
              <a:gd name="connsiteX51" fmla="*/ 78370 w 849630"/>
              <a:gd name="connsiteY51" fmla="*/ 697987 h 779862"/>
              <a:gd name="connsiteX52" fmla="*/ 68418 w 849630"/>
              <a:gd name="connsiteY52" fmla="*/ 689303 h 779862"/>
              <a:gd name="connsiteX53" fmla="*/ 78370 w 849630"/>
              <a:gd name="connsiteY53" fmla="*/ 678138 h 779862"/>
              <a:gd name="connsiteX54" fmla="*/ 129372 w 849630"/>
              <a:gd name="connsiteY54" fmla="*/ 678138 h 779862"/>
              <a:gd name="connsiteX55" fmla="*/ 111958 w 849630"/>
              <a:gd name="connsiteY55" fmla="*/ 611149 h 779862"/>
              <a:gd name="connsiteX56" fmla="*/ 111958 w 849630"/>
              <a:gd name="connsiteY56" fmla="*/ 609909 h 779862"/>
              <a:gd name="connsiteX57" fmla="*/ 58466 w 849630"/>
              <a:gd name="connsiteY57" fmla="*/ 556566 h 779862"/>
              <a:gd name="connsiteX58" fmla="*/ 58466 w 849630"/>
              <a:gd name="connsiteY58" fmla="*/ 541679 h 779862"/>
              <a:gd name="connsiteX59" fmla="*/ 73394 w 849630"/>
              <a:gd name="connsiteY59" fmla="*/ 541679 h 779862"/>
              <a:gd name="connsiteX60" fmla="*/ 174156 w 849630"/>
              <a:gd name="connsiteY60" fmla="*/ 642163 h 779862"/>
              <a:gd name="connsiteX61" fmla="*/ 190328 w 849630"/>
              <a:gd name="connsiteY61" fmla="*/ 649606 h 779862"/>
              <a:gd name="connsiteX62" fmla="*/ 312236 w 849630"/>
              <a:gd name="connsiteY62" fmla="*/ 649606 h 779862"/>
              <a:gd name="connsiteX63" fmla="*/ 330896 w 849630"/>
              <a:gd name="connsiteY63" fmla="*/ 640922 h 779862"/>
              <a:gd name="connsiteX64" fmla="*/ 337116 w 849630"/>
              <a:gd name="connsiteY64" fmla="*/ 622314 h 779862"/>
              <a:gd name="connsiteX65" fmla="*/ 310992 w 849630"/>
              <a:gd name="connsiteY65" fmla="*/ 599984 h 779862"/>
              <a:gd name="connsiteX66" fmla="*/ 218938 w 849630"/>
              <a:gd name="connsiteY66" fmla="*/ 599984 h 779862"/>
              <a:gd name="connsiteX67" fmla="*/ 189084 w 849630"/>
              <a:gd name="connsiteY67" fmla="*/ 587579 h 779862"/>
              <a:gd name="connsiteX68" fmla="*/ 109470 w 849630"/>
              <a:gd name="connsiteY68" fmla="*/ 513147 h 779862"/>
              <a:gd name="connsiteX69" fmla="*/ 92054 w 849630"/>
              <a:gd name="connsiteY69" fmla="*/ 508185 h 779862"/>
              <a:gd name="connsiteX70" fmla="*/ 53490 w 849630"/>
              <a:gd name="connsiteY70" fmla="*/ 508185 h 779862"/>
              <a:gd name="connsiteX71" fmla="*/ 21148 w 849630"/>
              <a:gd name="connsiteY71" fmla="*/ 539198 h 779862"/>
              <a:gd name="connsiteX72" fmla="*/ 21148 w 849630"/>
              <a:gd name="connsiteY72" fmla="*/ 768697 h 779862"/>
              <a:gd name="connsiteX73" fmla="*/ 11196 w 849630"/>
              <a:gd name="connsiteY73" fmla="*/ 779862 h 779862"/>
              <a:gd name="connsiteX74" fmla="*/ 0 w 849630"/>
              <a:gd name="connsiteY74" fmla="*/ 768697 h 779862"/>
              <a:gd name="connsiteX75" fmla="*/ 0 w 849630"/>
              <a:gd name="connsiteY75" fmla="*/ 539198 h 779862"/>
              <a:gd name="connsiteX76" fmla="*/ 53490 w 849630"/>
              <a:gd name="connsiteY76" fmla="*/ 485855 h 779862"/>
              <a:gd name="connsiteX77" fmla="*/ 748842 w 849630"/>
              <a:gd name="connsiteY77" fmla="*/ 338128 h 779862"/>
              <a:gd name="connsiteX78" fmla="*/ 705308 w 849630"/>
              <a:gd name="connsiteY78" fmla="*/ 359261 h 779862"/>
              <a:gd name="connsiteX79" fmla="*/ 702820 w 849630"/>
              <a:gd name="connsiteY79" fmla="*/ 361747 h 779862"/>
              <a:gd name="connsiteX80" fmla="*/ 701576 w 849630"/>
              <a:gd name="connsiteY80" fmla="*/ 362990 h 779862"/>
              <a:gd name="connsiteX81" fmla="*/ 700332 w 849630"/>
              <a:gd name="connsiteY81" fmla="*/ 365477 h 779862"/>
              <a:gd name="connsiteX82" fmla="*/ 699088 w 849630"/>
              <a:gd name="connsiteY82" fmla="*/ 366720 h 779862"/>
              <a:gd name="connsiteX83" fmla="*/ 696600 w 849630"/>
              <a:gd name="connsiteY83" fmla="*/ 369206 h 779862"/>
              <a:gd name="connsiteX84" fmla="*/ 696600 w 849630"/>
              <a:gd name="connsiteY84" fmla="*/ 371692 h 779862"/>
              <a:gd name="connsiteX85" fmla="*/ 695356 w 849630"/>
              <a:gd name="connsiteY85" fmla="*/ 375422 h 779862"/>
              <a:gd name="connsiteX86" fmla="*/ 695356 w 849630"/>
              <a:gd name="connsiteY86" fmla="*/ 376665 h 779862"/>
              <a:gd name="connsiteX87" fmla="*/ 692868 w 849630"/>
              <a:gd name="connsiteY87" fmla="*/ 379151 h 779862"/>
              <a:gd name="connsiteX88" fmla="*/ 692868 w 849630"/>
              <a:gd name="connsiteY88" fmla="*/ 381637 h 779862"/>
              <a:gd name="connsiteX89" fmla="*/ 692868 w 849630"/>
              <a:gd name="connsiteY89" fmla="*/ 385367 h 779862"/>
              <a:gd name="connsiteX90" fmla="*/ 691624 w 849630"/>
              <a:gd name="connsiteY90" fmla="*/ 387853 h 779862"/>
              <a:gd name="connsiteX91" fmla="*/ 691624 w 849630"/>
              <a:gd name="connsiteY91" fmla="*/ 390339 h 779862"/>
              <a:gd name="connsiteX92" fmla="*/ 691624 w 849630"/>
              <a:gd name="connsiteY92" fmla="*/ 395312 h 779862"/>
              <a:gd name="connsiteX93" fmla="*/ 691624 w 849630"/>
              <a:gd name="connsiteY93" fmla="*/ 399041 h 779862"/>
              <a:gd name="connsiteX94" fmla="*/ 691624 w 849630"/>
              <a:gd name="connsiteY94" fmla="*/ 401527 h 779862"/>
              <a:gd name="connsiteX95" fmla="*/ 748842 w 849630"/>
              <a:gd name="connsiteY95" fmla="*/ 452495 h 779862"/>
              <a:gd name="connsiteX96" fmla="*/ 804816 w 849630"/>
              <a:gd name="connsiteY96" fmla="*/ 395312 h 779862"/>
              <a:gd name="connsiteX97" fmla="*/ 748842 w 849630"/>
              <a:gd name="connsiteY97" fmla="*/ 338128 h 779862"/>
              <a:gd name="connsiteX98" fmla="*/ 102034 w 849630"/>
              <a:gd name="connsiteY98" fmla="*/ 338128 h 779862"/>
              <a:gd name="connsiteX99" fmla="*/ 44816 w 849630"/>
              <a:gd name="connsiteY99" fmla="*/ 395312 h 779862"/>
              <a:gd name="connsiteX100" fmla="*/ 102034 w 849630"/>
              <a:gd name="connsiteY100" fmla="*/ 452495 h 779862"/>
              <a:gd name="connsiteX101" fmla="*/ 158008 w 849630"/>
              <a:gd name="connsiteY101" fmla="*/ 401527 h 779862"/>
              <a:gd name="connsiteX102" fmla="*/ 158008 w 849630"/>
              <a:gd name="connsiteY102" fmla="*/ 397798 h 779862"/>
              <a:gd name="connsiteX103" fmla="*/ 158008 w 849630"/>
              <a:gd name="connsiteY103" fmla="*/ 395312 h 779862"/>
              <a:gd name="connsiteX104" fmla="*/ 158008 w 849630"/>
              <a:gd name="connsiteY104" fmla="*/ 390339 h 779862"/>
              <a:gd name="connsiteX105" fmla="*/ 158008 w 849630"/>
              <a:gd name="connsiteY105" fmla="*/ 387853 h 779862"/>
              <a:gd name="connsiteX106" fmla="*/ 156764 w 849630"/>
              <a:gd name="connsiteY106" fmla="*/ 385367 h 779862"/>
              <a:gd name="connsiteX107" fmla="*/ 156764 w 849630"/>
              <a:gd name="connsiteY107" fmla="*/ 382880 h 779862"/>
              <a:gd name="connsiteX108" fmla="*/ 156764 w 849630"/>
              <a:gd name="connsiteY108" fmla="*/ 379151 h 779862"/>
              <a:gd name="connsiteX109" fmla="*/ 155520 w 849630"/>
              <a:gd name="connsiteY109" fmla="*/ 376665 h 779862"/>
              <a:gd name="connsiteX110" fmla="*/ 154276 w 849630"/>
              <a:gd name="connsiteY110" fmla="*/ 374179 h 779862"/>
              <a:gd name="connsiteX111" fmla="*/ 153032 w 849630"/>
              <a:gd name="connsiteY111" fmla="*/ 371692 h 779862"/>
              <a:gd name="connsiteX112" fmla="*/ 151788 w 849630"/>
              <a:gd name="connsiteY112" fmla="*/ 369206 h 779862"/>
              <a:gd name="connsiteX113" fmla="*/ 150544 w 849630"/>
              <a:gd name="connsiteY113" fmla="*/ 366720 h 779862"/>
              <a:gd name="connsiteX114" fmla="*/ 149300 w 849630"/>
              <a:gd name="connsiteY114" fmla="*/ 364234 h 779862"/>
              <a:gd name="connsiteX115" fmla="*/ 102034 w 849630"/>
              <a:gd name="connsiteY115" fmla="*/ 338128 h 779862"/>
              <a:gd name="connsiteX116" fmla="*/ 424712 w 849630"/>
              <a:gd name="connsiteY116" fmla="*/ 89693 h 779862"/>
              <a:gd name="connsiteX117" fmla="*/ 435798 w 849630"/>
              <a:gd name="connsiteY117" fmla="*/ 99618 h 779862"/>
              <a:gd name="connsiteX118" fmla="*/ 435798 w 849630"/>
              <a:gd name="connsiteY118" fmla="*/ 283230 h 779862"/>
              <a:gd name="connsiteX119" fmla="*/ 437028 w 849630"/>
              <a:gd name="connsiteY119" fmla="*/ 285711 h 779862"/>
              <a:gd name="connsiteX120" fmla="*/ 522012 w 849630"/>
              <a:gd name="connsiteY120" fmla="*/ 371314 h 779862"/>
              <a:gd name="connsiteX121" fmla="*/ 522012 w 849630"/>
              <a:gd name="connsiteY121" fmla="*/ 386202 h 779862"/>
              <a:gd name="connsiteX122" fmla="*/ 514622 w 849630"/>
              <a:gd name="connsiteY122" fmla="*/ 388683 h 779862"/>
              <a:gd name="connsiteX123" fmla="*/ 507232 w 849630"/>
              <a:gd name="connsiteY123" fmla="*/ 386202 h 779862"/>
              <a:gd name="connsiteX124" fmla="*/ 422250 w 849630"/>
              <a:gd name="connsiteY124" fmla="*/ 300599 h 779862"/>
              <a:gd name="connsiteX125" fmla="*/ 416092 w 849630"/>
              <a:gd name="connsiteY125" fmla="*/ 283230 h 779862"/>
              <a:gd name="connsiteX126" fmla="*/ 416092 w 849630"/>
              <a:gd name="connsiteY126" fmla="*/ 99618 h 779862"/>
              <a:gd name="connsiteX127" fmla="*/ 424712 w 849630"/>
              <a:gd name="connsiteY127" fmla="*/ 89693 h 779862"/>
              <a:gd name="connsiteX128" fmla="*/ 415488 w 849630"/>
              <a:gd name="connsiteY128" fmla="*/ 21133 h 779862"/>
              <a:gd name="connsiteX129" fmla="*/ 242590 w 849630"/>
              <a:gd name="connsiteY129" fmla="*/ 91991 h 779862"/>
              <a:gd name="connsiteX130" fmla="*/ 266224 w 849630"/>
              <a:gd name="connsiteY130" fmla="*/ 116853 h 779862"/>
              <a:gd name="connsiteX131" fmla="*/ 266224 w 849630"/>
              <a:gd name="connsiteY131" fmla="*/ 130527 h 779862"/>
              <a:gd name="connsiteX132" fmla="*/ 258760 w 849630"/>
              <a:gd name="connsiteY132" fmla="*/ 134257 h 779862"/>
              <a:gd name="connsiteX133" fmla="*/ 252540 w 849630"/>
              <a:gd name="connsiteY133" fmla="*/ 130527 h 779862"/>
              <a:gd name="connsiteX134" fmla="*/ 227664 w 849630"/>
              <a:gd name="connsiteY134" fmla="*/ 108151 h 779862"/>
              <a:gd name="connsiteX135" fmla="*/ 156764 w 849630"/>
              <a:gd name="connsiteY135" fmla="*/ 279702 h 779862"/>
              <a:gd name="connsiteX136" fmla="*/ 190348 w 849630"/>
              <a:gd name="connsiteY136" fmla="*/ 279702 h 779862"/>
              <a:gd name="connsiteX137" fmla="*/ 201542 w 849630"/>
              <a:gd name="connsiteY137" fmla="*/ 288403 h 779862"/>
              <a:gd name="connsiteX138" fmla="*/ 190348 w 849630"/>
              <a:gd name="connsiteY138" fmla="*/ 299591 h 779862"/>
              <a:gd name="connsiteX139" fmla="*/ 156764 w 849630"/>
              <a:gd name="connsiteY139" fmla="*/ 299591 h 779862"/>
              <a:gd name="connsiteX140" fmla="*/ 162982 w 849630"/>
              <a:gd name="connsiteY140" fmla="*/ 348073 h 779862"/>
              <a:gd name="connsiteX141" fmla="*/ 165470 w 849630"/>
              <a:gd name="connsiteY141" fmla="*/ 351802 h 779862"/>
              <a:gd name="connsiteX142" fmla="*/ 166714 w 849630"/>
              <a:gd name="connsiteY142" fmla="*/ 351802 h 779862"/>
              <a:gd name="connsiteX143" fmla="*/ 170446 w 849630"/>
              <a:gd name="connsiteY143" fmla="*/ 358018 h 779862"/>
              <a:gd name="connsiteX144" fmla="*/ 172934 w 849630"/>
              <a:gd name="connsiteY144" fmla="*/ 364234 h 779862"/>
              <a:gd name="connsiteX145" fmla="*/ 174178 w 849630"/>
              <a:gd name="connsiteY145" fmla="*/ 366720 h 779862"/>
              <a:gd name="connsiteX146" fmla="*/ 175422 w 849630"/>
              <a:gd name="connsiteY146" fmla="*/ 371692 h 779862"/>
              <a:gd name="connsiteX147" fmla="*/ 176666 w 849630"/>
              <a:gd name="connsiteY147" fmla="*/ 374179 h 779862"/>
              <a:gd name="connsiteX148" fmla="*/ 176666 w 849630"/>
              <a:gd name="connsiteY148" fmla="*/ 377908 h 779862"/>
              <a:gd name="connsiteX149" fmla="*/ 177910 w 849630"/>
              <a:gd name="connsiteY149" fmla="*/ 381637 h 779862"/>
              <a:gd name="connsiteX150" fmla="*/ 179152 w 849630"/>
              <a:gd name="connsiteY150" fmla="*/ 385367 h 779862"/>
              <a:gd name="connsiteX151" fmla="*/ 179152 w 849630"/>
              <a:gd name="connsiteY151" fmla="*/ 387853 h 779862"/>
              <a:gd name="connsiteX152" fmla="*/ 179152 w 849630"/>
              <a:gd name="connsiteY152" fmla="*/ 395312 h 779862"/>
              <a:gd name="connsiteX153" fmla="*/ 179152 w 849630"/>
              <a:gd name="connsiteY153" fmla="*/ 396555 h 779862"/>
              <a:gd name="connsiteX154" fmla="*/ 227664 w 849630"/>
              <a:gd name="connsiteY154" fmla="*/ 471142 h 779862"/>
              <a:gd name="connsiteX155" fmla="*/ 252540 w 849630"/>
              <a:gd name="connsiteY155" fmla="*/ 447523 h 779862"/>
              <a:gd name="connsiteX156" fmla="*/ 266224 w 849630"/>
              <a:gd name="connsiteY156" fmla="*/ 447523 h 779862"/>
              <a:gd name="connsiteX157" fmla="*/ 266224 w 849630"/>
              <a:gd name="connsiteY157" fmla="*/ 462440 h 779862"/>
              <a:gd name="connsiteX158" fmla="*/ 242590 w 849630"/>
              <a:gd name="connsiteY158" fmla="*/ 486059 h 779862"/>
              <a:gd name="connsiteX159" fmla="*/ 415488 w 849630"/>
              <a:gd name="connsiteY159" fmla="*/ 558160 h 779862"/>
              <a:gd name="connsiteX160" fmla="*/ 415488 w 849630"/>
              <a:gd name="connsiteY160" fmla="*/ 523353 h 779862"/>
              <a:gd name="connsiteX161" fmla="*/ 424194 w 849630"/>
              <a:gd name="connsiteY161" fmla="*/ 513408 h 779862"/>
              <a:gd name="connsiteX162" fmla="*/ 435388 w 849630"/>
              <a:gd name="connsiteY162" fmla="*/ 523353 h 779862"/>
              <a:gd name="connsiteX163" fmla="*/ 435388 w 849630"/>
              <a:gd name="connsiteY163" fmla="*/ 558160 h 779862"/>
              <a:gd name="connsiteX164" fmla="*/ 607042 w 849630"/>
              <a:gd name="connsiteY164" fmla="*/ 486059 h 779862"/>
              <a:gd name="connsiteX165" fmla="*/ 583408 w 849630"/>
              <a:gd name="connsiteY165" fmla="*/ 462440 h 779862"/>
              <a:gd name="connsiteX166" fmla="*/ 583408 w 849630"/>
              <a:gd name="connsiteY166" fmla="*/ 447523 h 779862"/>
              <a:gd name="connsiteX167" fmla="*/ 598336 w 849630"/>
              <a:gd name="connsiteY167" fmla="*/ 447523 h 779862"/>
              <a:gd name="connsiteX168" fmla="*/ 621968 w 849630"/>
              <a:gd name="connsiteY168" fmla="*/ 471142 h 779862"/>
              <a:gd name="connsiteX169" fmla="*/ 670480 w 849630"/>
              <a:gd name="connsiteY169" fmla="*/ 397798 h 779862"/>
              <a:gd name="connsiteX170" fmla="*/ 670480 w 849630"/>
              <a:gd name="connsiteY170" fmla="*/ 395312 h 779862"/>
              <a:gd name="connsiteX171" fmla="*/ 670480 w 849630"/>
              <a:gd name="connsiteY171" fmla="*/ 387853 h 779862"/>
              <a:gd name="connsiteX172" fmla="*/ 671724 w 849630"/>
              <a:gd name="connsiteY172" fmla="*/ 385367 h 779862"/>
              <a:gd name="connsiteX173" fmla="*/ 671724 w 849630"/>
              <a:gd name="connsiteY173" fmla="*/ 381637 h 779862"/>
              <a:gd name="connsiteX174" fmla="*/ 672966 w 849630"/>
              <a:gd name="connsiteY174" fmla="*/ 377908 h 779862"/>
              <a:gd name="connsiteX175" fmla="*/ 672966 w 849630"/>
              <a:gd name="connsiteY175" fmla="*/ 374179 h 779862"/>
              <a:gd name="connsiteX176" fmla="*/ 674210 w 849630"/>
              <a:gd name="connsiteY176" fmla="*/ 370449 h 779862"/>
              <a:gd name="connsiteX177" fmla="*/ 675454 w 849630"/>
              <a:gd name="connsiteY177" fmla="*/ 366720 h 779862"/>
              <a:gd name="connsiteX178" fmla="*/ 677942 w 849630"/>
              <a:gd name="connsiteY178" fmla="*/ 364234 h 779862"/>
              <a:gd name="connsiteX179" fmla="*/ 679186 w 849630"/>
              <a:gd name="connsiteY179" fmla="*/ 360504 h 779862"/>
              <a:gd name="connsiteX180" fmla="*/ 680430 w 849630"/>
              <a:gd name="connsiteY180" fmla="*/ 358018 h 779862"/>
              <a:gd name="connsiteX181" fmla="*/ 684162 w 849630"/>
              <a:gd name="connsiteY181" fmla="*/ 351802 h 779862"/>
              <a:gd name="connsiteX182" fmla="*/ 685406 w 849630"/>
              <a:gd name="connsiteY182" fmla="*/ 350559 h 779862"/>
              <a:gd name="connsiteX183" fmla="*/ 687894 w 849630"/>
              <a:gd name="connsiteY183" fmla="*/ 346830 h 779862"/>
              <a:gd name="connsiteX184" fmla="*/ 692868 w 849630"/>
              <a:gd name="connsiteY184" fmla="*/ 299591 h 779862"/>
              <a:gd name="connsiteX185" fmla="*/ 659284 w 849630"/>
              <a:gd name="connsiteY185" fmla="*/ 299591 h 779862"/>
              <a:gd name="connsiteX186" fmla="*/ 649334 w 849630"/>
              <a:gd name="connsiteY186" fmla="*/ 288403 h 779862"/>
              <a:gd name="connsiteX187" fmla="*/ 659284 w 849630"/>
              <a:gd name="connsiteY187" fmla="*/ 279702 h 779862"/>
              <a:gd name="connsiteX188" fmla="*/ 692868 w 849630"/>
              <a:gd name="connsiteY188" fmla="*/ 279702 h 779862"/>
              <a:gd name="connsiteX189" fmla="*/ 621968 w 849630"/>
              <a:gd name="connsiteY189" fmla="*/ 108151 h 779862"/>
              <a:gd name="connsiteX190" fmla="*/ 598336 w 849630"/>
              <a:gd name="connsiteY190" fmla="*/ 130527 h 779862"/>
              <a:gd name="connsiteX191" fmla="*/ 590872 w 849630"/>
              <a:gd name="connsiteY191" fmla="*/ 134257 h 779862"/>
              <a:gd name="connsiteX192" fmla="*/ 583408 w 849630"/>
              <a:gd name="connsiteY192" fmla="*/ 130527 h 779862"/>
              <a:gd name="connsiteX193" fmla="*/ 583408 w 849630"/>
              <a:gd name="connsiteY193" fmla="*/ 116853 h 779862"/>
              <a:gd name="connsiteX194" fmla="*/ 607042 w 849630"/>
              <a:gd name="connsiteY194" fmla="*/ 91991 h 779862"/>
              <a:gd name="connsiteX195" fmla="*/ 435388 w 849630"/>
              <a:gd name="connsiteY195" fmla="*/ 21133 h 779862"/>
              <a:gd name="connsiteX196" fmla="*/ 435388 w 849630"/>
              <a:gd name="connsiteY196" fmla="*/ 54697 h 779862"/>
              <a:gd name="connsiteX197" fmla="*/ 424194 w 849630"/>
              <a:gd name="connsiteY197" fmla="*/ 65885 h 779862"/>
              <a:gd name="connsiteX198" fmla="*/ 415488 w 849630"/>
              <a:gd name="connsiteY198" fmla="*/ 54697 h 779862"/>
              <a:gd name="connsiteX199" fmla="*/ 424194 w 849630"/>
              <a:gd name="connsiteY199" fmla="*/ 0 h 779862"/>
              <a:gd name="connsiteX200" fmla="*/ 715258 w 849630"/>
              <a:gd name="connsiteY200" fmla="*/ 288403 h 779862"/>
              <a:gd name="connsiteX201" fmla="*/ 712770 w 849630"/>
              <a:gd name="connsiteY201" fmla="*/ 325697 h 779862"/>
              <a:gd name="connsiteX202" fmla="*/ 748842 w 849630"/>
              <a:gd name="connsiteY202" fmla="*/ 316995 h 779862"/>
              <a:gd name="connsiteX203" fmla="*/ 827206 w 849630"/>
              <a:gd name="connsiteY203" fmla="*/ 395312 h 779862"/>
              <a:gd name="connsiteX204" fmla="*/ 748842 w 849630"/>
              <a:gd name="connsiteY204" fmla="*/ 473628 h 779862"/>
              <a:gd name="connsiteX205" fmla="*/ 677942 w 849630"/>
              <a:gd name="connsiteY205" fmla="*/ 428876 h 779862"/>
              <a:gd name="connsiteX206" fmla="*/ 424194 w 849630"/>
              <a:gd name="connsiteY206" fmla="*/ 579293 h 779862"/>
              <a:gd name="connsiteX207" fmla="*/ 171690 w 849630"/>
              <a:gd name="connsiteY207" fmla="*/ 428876 h 779862"/>
              <a:gd name="connsiteX208" fmla="*/ 102034 w 849630"/>
              <a:gd name="connsiteY208" fmla="*/ 473628 h 779862"/>
              <a:gd name="connsiteX209" fmla="*/ 23670 w 849630"/>
              <a:gd name="connsiteY209" fmla="*/ 395312 h 779862"/>
              <a:gd name="connsiteX210" fmla="*/ 102034 w 849630"/>
              <a:gd name="connsiteY210" fmla="*/ 316995 h 779862"/>
              <a:gd name="connsiteX211" fmla="*/ 138106 w 849630"/>
              <a:gd name="connsiteY211" fmla="*/ 325697 h 779862"/>
              <a:gd name="connsiteX212" fmla="*/ 135618 w 849630"/>
              <a:gd name="connsiteY212" fmla="*/ 288403 h 779862"/>
              <a:gd name="connsiteX213" fmla="*/ 424194 w 849630"/>
              <a:gd name="connsiteY213" fmla="*/ 0 h 779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</a:cxnLst>
            <a:rect l="l" t="t" r="r" b="b"/>
            <a:pathLst>
              <a:path w="849630" h="779862">
                <a:moveTo>
                  <a:pt x="53490" y="485855"/>
                </a:moveTo>
                <a:lnTo>
                  <a:pt x="92054" y="485855"/>
                </a:lnTo>
                <a:cubicBezTo>
                  <a:pt x="103250" y="485855"/>
                  <a:pt x="115690" y="490817"/>
                  <a:pt x="123152" y="498260"/>
                </a:cubicBezTo>
                <a:lnTo>
                  <a:pt x="202766" y="572693"/>
                </a:lnTo>
                <a:cubicBezTo>
                  <a:pt x="207742" y="577655"/>
                  <a:pt x="213962" y="580136"/>
                  <a:pt x="218938" y="580136"/>
                </a:cubicBezTo>
                <a:lnTo>
                  <a:pt x="310992" y="580136"/>
                </a:lnTo>
                <a:cubicBezTo>
                  <a:pt x="335872" y="580136"/>
                  <a:pt x="355774" y="597503"/>
                  <a:pt x="358262" y="621073"/>
                </a:cubicBezTo>
                <a:cubicBezTo>
                  <a:pt x="358262" y="632238"/>
                  <a:pt x="354530" y="645884"/>
                  <a:pt x="345824" y="655808"/>
                </a:cubicBezTo>
                <a:cubicBezTo>
                  <a:pt x="337116" y="664492"/>
                  <a:pt x="324676" y="669454"/>
                  <a:pt x="312236" y="669454"/>
                </a:cubicBezTo>
                <a:lnTo>
                  <a:pt x="190328" y="669454"/>
                </a:lnTo>
                <a:cubicBezTo>
                  <a:pt x="179132" y="669454"/>
                  <a:pt x="167936" y="665733"/>
                  <a:pt x="160472" y="658289"/>
                </a:cubicBezTo>
                <a:lnTo>
                  <a:pt x="140568" y="638441"/>
                </a:lnTo>
                <a:lnTo>
                  <a:pt x="150520" y="678138"/>
                </a:lnTo>
                <a:lnTo>
                  <a:pt x="699110" y="678138"/>
                </a:lnTo>
                <a:lnTo>
                  <a:pt x="709062" y="638441"/>
                </a:lnTo>
                <a:lnTo>
                  <a:pt x="690402" y="658289"/>
                </a:lnTo>
                <a:cubicBezTo>
                  <a:pt x="681694" y="665733"/>
                  <a:pt x="671742" y="669454"/>
                  <a:pt x="659302" y="669454"/>
                </a:cubicBezTo>
                <a:lnTo>
                  <a:pt x="537394" y="669454"/>
                </a:lnTo>
                <a:cubicBezTo>
                  <a:pt x="524954" y="669454"/>
                  <a:pt x="513758" y="664492"/>
                  <a:pt x="503806" y="655808"/>
                </a:cubicBezTo>
                <a:cubicBezTo>
                  <a:pt x="495100" y="645884"/>
                  <a:pt x="492612" y="632238"/>
                  <a:pt x="492612" y="621073"/>
                </a:cubicBezTo>
                <a:cubicBezTo>
                  <a:pt x="495100" y="597503"/>
                  <a:pt x="515002" y="580136"/>
                  <a:pt x="538638" y="580136"/>
                </a:cubicBezTo>
                <a:lnTo>
                  <a:pt x="630692" y="580136"/>
                </a:lnTo>
                <a:cubicBezTo>
                  <a:pt x="636912" y="580136"/>
                  <a:pt x="643132" y="577655"/>
                  <a:pt x="645620" y="572693"/>
                </a:cubicBezTo>
                <a:lnTo>
                  <a:pt x="726478" y="498260"/>
                </a:lnTo>
                <a:cubicBezTo>
                  <a:pt x="735184" y="490817"/>
                  <a:pt x="746380" y="485855"/>
                  <a:pt x="757576" y="485855"/>
                </a:cubicBezTo>
                <a:lnTo>
                  <a:pt x="797384" y="485855"/>
                </a:lnTo>
                <a:cubicBezTo>
                  <a:pt x="825994" y="485855"/>
                  <a:pt x="849630" y="509425"/>
                  <a:pt x="849630" y="539198"/>
                </a:cubicBezTo>
                <a:lnTo>
                  <a:pt x="849630" y="768697"/>
                </a:lnTo>
                <a:cubicBezTo>
                  <a:pt x="849630" y="774900"/>
                  <a:pt x="844654" y="779862"/>
                  <a:pt x="839678" y="779862"/>
                </a:cubicBezTo>
                <a:cubicBezTo>
                  <a:pt x="833458" y="779862"/>
                  <a:pt x="828482" y="774900"/>
                  <a:pt x="828482" y="768697"/>
                </a:cubicBezTo>
                <a:lnTo>
                  <a:pt x="828482" y="539198"/>
                </a:lnTo>
                <a:cubicBezTo>
                  <a:pt x="828482" y="520590"/>
                  <a:pt x="814798" y="508185"/>
                  <a:pt x="797384" y="508185"/>
                </a:cubicBezTo>
                <a:lnTo>
                  <a:pt x="757576" y="508185"/>
                </a:lnTo>
                <a:cubicBezTo>
                  <a:pt x="751356" y="508185"/>
                  <a:pt x="745136" y="509425"/>
                  <a:pt x="740160" y="513147"/>
                </a:cubicBezTo>
                <a:lnTo>
                  <a:pt x="661790" y="587579"/>
                </a:lnTo>
                <a:cubicBezTo>
                  <a:pt x="653084" y="596263"/>
                  <a:pt x="643132" y="599984"/>
                  <a:pt x="630692" y="599984"/>
                </a:cubicBezTo>
                <a:lnTo>
                  <a:pt x="538638" y="599984"/>
                </a:lnTo>
                <a:cubicBezTo>
                  <a:pt x="526198" y="599984"/>
                  <a:pt x="515002" y="609909"/>
                  <a:pt x="513758" y="622314"/>
                </a:cubicBezTo>
                <a:cubicBezTo>
                  <a:pt x="513758" y="629757"/>
                  <a:pt x="515002" y="635960"/>
                  <a:pt x="519978" y="640922"/>
                </a:cubicBezTo>
                <a:cubicBezTo>
                  <a:pt x="524954" y="645884"/>
                  <a:pt x="531174" y="649606"/>
                  <a:pt x="537394" y="649606"/>
                </a:cubicBezTo>
                <a:lnTo>
                  <a:pt x="659302" y="649606"/>
                </a:lnTo>
                <a:cubicBezTo>
                  <a:pt x="665522" y="649606"/>
                  <a:pt x="671742" y="645884"/>
                  <a:pt x="675474" y="642163"/>
                </a:cubicBezTo>
                <a:lnTo>
                  <a:pt x="776236" y="541679"/>
                </a:lnTo>
                <a:cubicBezTo>
                  <a:pt x="781212" y="537958"/>
                  <a:pt x="787432" y="537958"/>
                  <a:pt x="791164" y="541679"/>
                </a:cubicBezTo>
                <a:cubicBezTo>
                  <a:pt x="794896" y="546641"/>
                  <a:pt x="794896" y="552844"/>
                  <a:pt x="791164" y="556566"/>
                </a:cubicBezTo>
                <a:lnTo>
                  <a:pt x="737672" y="609909"/>
                </a:lnTo>
                <a:lnTo>
                  <a:pt x="737672" y="611149"/>
                </a:lnTo>
                <a:lnTo>
                  <a:pt x="720258" y="678138"/>
                </a:lnTo>
                <a:lnTo>
                  <a:pt x="771260" y="678138"/>
                </a:lnTo>
                <a:cubicBezTo>
                  <a:pt x="777480" y="678138"/>
                  <a:pt x="781212" y="683100"/>
                  <a:pt x="781212" y="689303"/>
                </a:cubicBezTo>
                <a:cubicBezTo>
                  <a:pt x="781212" y="694265"/>
                  <a:pt x="777480" y="697987"/>
                  <a:pt x="771260" y="697987"/>
                </a:cubicBezTo>
                <a:lnTo>
                  <a:pt x="78370" y="697987"/>
                </a:lnTo>
                <a:cubicBezTo>
                  <a:pt x="73394" y="697987"/>
                  <a:pt x="68418" y="694265"/>
                  <a:pt x="68418" y="689303"/>
                </a:cubicBezTo>
                <a:cubicBezTo>
                  <a:pt x="68418" y="683100"/>
                  <a:pt x="73394" y="678138"/>
                  <a:pt x="78370" y="678138"/>
                </a:cubicBezTo>
                <a:lnTo>
                  <a:pt x="129372" y="678138"/>
                </a:lnTo>
                <a:lnTo>
                  <a:pt x="111958" y="611149"/>
                </a:lnTo>
                <a:lnTo>
                  <a:pt x="111958" y="609909"/>
                </a:lnTo>
                <a:lnTo>
                  <a:pt x="58466" y="556566"/>
                </a:lnTo>
                <a:cubicBezTo>
                  <a:pt x="54734" y="552844"/>
                  <a:pt x="54734" y="546641"/>
                  <a:pt x="58466" y="541679"/>
                </a:cubicBezTo>
                <a:cubicBezTo>
                  <a:pt x="63442" y="537958"/>
                  <a:pt x="69662" y="537958"/>
                  <a:pt x="73394" y="541679"/>
                </a:cubicBezTo>
                <a:lnTo>
                  <a:pt x="174156" y="642163"/>
                </a:lnTo>
                <a:cubicBezTo>
                  <a:pt x="179132" y="645884"/>
                  <a:pt x="184108" y="649606"/>
                  <a:pt x="190328" y="649606"/>
                </a:cubicBezTo>
                <a:lnTo>
                  <a:pt x="312236" y="649606"/>
                </a:lnTo>
                <a:cubicBezTo>
                  <a:pt x="319700" y="649606"/>
                  <a:pt x="325920" y="645884"/>
                  <a:pt x="330896" y="640922"/>
                </a:cubicBezTo>
                <a:cubicBezTo>
                  <a:pt x="335872" y="635960"/>
                  <a:pt x="337116" y="629757"/>
                  <a:pt x="337116" y="622314"/>
                </a:cubicBezTo>
                <a:cubicBezTo>
                  <a:pt x="335872" y="609909"/>
                  <a:pt x="324676" y="599984"/>
                  <a:pt x="310992" y="599984"/>
                </a:cubicBezTo>
                <a:lnTo>
                  <a:pt x="218938" y="599984"/>
                </a:lnTo>
                <a:cubicBezTo>
                  <a:pt x="207742" y="599984"/>
                  <a:pt x="196546" y="596263"/>
                  <a:pt x="189084" y="587579"/>
                </a:cubicBezTo>
                <a:lnTo>
                  <a:pt x="109470" y="513147"/>
                </a:lnTo>
                <a:cubicBezTo>
                  <a:pt x="104494" y="509425"/>
                  <a:pt x="98274" y="508185"/>
                  <a:pt x="92054" y="508185"/>
                </a:cubicBezTo>
                <a:lnTo>
                  <a:pt x="53490" y="508185"/>
                </a:lnTo>
                <a:cubicBezTo>
                  <a:pt x="36076" y="508185"/>
                  <a:pt x="21148" y="520590"/>
                  <a:pt x="21148" y="539198"/>
                </a:cubicBezTo>
                <a:lnTo>
                  <a:pt x="21148" y="768697"/>
                </a:lnTo>
                <a:cubicBezTo>
                  <a:pt x="21148" y="774900"/>
                  <a:pt x="16172" y="779862"/>
                  <a:pt x="11196" y="779862"/>
                </a:cubicBezTo>
                <a:cubicBezTo>
                  <a:pt x="4976" y="779862"/>
                  <a:pt x="0" y="774900"/>
                  <a:pt x="0" y="768697"/>
                </a:cubicBezTo>
                <a:lnTo>
                  <a:pt x="0" y="539198"/>
                </a:lnTo>
                <a:cubicBezTo>
                  <a:pt x="0" y="509425"/>
                  <a:pt x="23636" y="485855"/>
                  <a:pt x="53490" y="485855"/>
                </a:cubicBezTo>
                <a:close/>
                <a:moveTo>
                  <a:pt x="748842" y="338128"/>
                </a:moveTo>
                <a:cubicBezTo>
                  <a:pt x="730184" y="338128"/>
                  <a:pt x="715258" y="345587"/>
                  <a:pt x="705308" y="359261"/>
                </a:cubicBezTo>
                <a:cubicBezTo>
                  <a:pt x="704064" y="359261"/>
                  <a:pt x="702820" y="360504"/>
                  <a:pt x="702820" y="361747"/>
                </a:cubicBezTo>
                <a:cubicBezTo>
                  <a:pt x="702820" y="361747"/>
                  <a:pt x="702820" y="361747"/>
                  <a:pt x="701576" y="362990"/>
                </a:cubicBezTo>
                <a:cubicBezTo>
                  <a:pt x="701576" y="364234"/>
                  <a:pt x="700332" y="364234"/>
                  <a:pt x="700332" y="365477"/>
                </a:cubicBezTo>
                <a:cubicBezTo>
                  <a:pt x="699088" y="365477"/>
                  <a:pt x="699088" y="366720"/>
                  <a:pt x="699088" y="366720"/>
                </a:cubicBezTo>
                <a:cubicBezTo>
                  <a:pt x="699088" y="367963"/>
                  <a:pt x="697844" y="369206"/>
                  <a:pt x="696600" y="369206"/>
                </a:cubicBezTo>
                <a:cubicBezTo>
                  <a:pt x="696600" y="370449"/>
                  <a:pt x="696600" y="371692"/>
                  <a:pt x="696600" y="371692"/>
                </a:cubicBezTo>
                <a:cubicBezTo>
                  <a:pt x="696600" y="372935"/>
                  <a:pt x="695356" y="372935"/>
                  <a:pt x="695356" y="375422"/>
                </a:cubicBezTo>
                <a:cubicBezTo>
                  <a:pt x="695356" y="375422"/>
                  <a:pt x="695356" y="375422"/>
                  <a:pt x="695356" y="376665"/>
                </a:cubicBezTo>
                <a:cubicBezTo>
                  <a:pt x="694112" y="377908"/>
                  <a:pt x="694112" y="379151"/>
                  <a:pt x="692868" y="379151"/>
                </a:cubicBezTo>
                <a:cubicBezTo>
                  <a:pt x="692868" y="380394"/>
                  <a:pt x="692868" y="381637"/>
                  <a:pt x="692868" y="381637"/>
                </a:cubicBezTo>
                <a:cubicBezTo>
                  <a:pt x="692868" y="382880"/>
                  <a:pt x="692868" y="384123"/>
                  <a:pt x="692868" y="385367"/>
                </a:cubicBezTo>
                <a:cubicBezTo>
                  <a:pt x="692868" y="385367"/>
                  <a:pt x="691624" y="386610"/>
                  <a:pt x="691624" y="387853"/>
                </a:cubicBezTo>
                <a:cubicBezTo>
                  <a:pt x="691624" y="389096"/>
                  <a:pt x="691624" y="389096"/>
                  <a:pt x="691624" y="390339"/>
                </a:cubicBezTo>
                <a:cubicBezTo>
                  <a:pt x="691624" y="391582"/>
                  <a:pt x="691624" y="392825"/>
                  <a:pt x="691624" y="395312"/>
                </a:cubicBezTo>
                <a:cubicBezTo>
                  <a:pt x="691624" y="396555"/>
                  <a:pt x="691624" y="397798"/>
                  <a:pt x="691624" y="399041"/>
                </a:cubicBezTo>
                <a:lnTo>
                  <a:pt x="691624" y="401527"/>
                </a:lnTo>
                <a:cubicBezTo>
                  <a:pt x="695356" y="430119"/>
                  <a:pt x="718990" y="452495"/>
                  <a:pt x="748842" y="452495"/>
                </a:cubicBezTo>
                <a:cubicBezTo>
                  <a:pt x="779940" y="452495"/>
                  <a:pt x="804816" y="426389"/>
                  <a:pt x="804816" y="395312"/>
                </a:cubicBezTo>
                <a:cubicBezTo>
                  <a:pt x="804816" y="364234"/>
                  <a:pt x="779940" y="338128"/>
                  <a:pt x="748842" y="338128"/>
                </a:cubicBezTo>
                <a:close/>
                <a:moveTo>
                  <a:pt x="102034" y="338128"/>
                </a:moveTo>
                <a:cubicBezTo>
                  <a:pt x="69692" y="338128"/>
                  <a:pt x="44816" y="364234"/>
                  <a:pt x="44816" y="395312"/>
                </a:cubicBezTo>
                <a:cubicBezTo>
                  <a:pt x="44816" y="426389"/>
                  <a:pt x="69692" y="452495"/>
                  <a:pt x="102034" y="452495"/>
                </a:cubicBezTo>
                <a:cubicBezTo>
                  <a:pt x="130642" y="452495"/>
                  <a:pt x="154276" y="430119"/>
                  <a:pt x="158008" y="401527"/>
                </a:cubicBezTo>
                <a:lnTo>
                  <a:pt x="158008" y="397798"/>
                </a:lnTo>
                <a:cubicBezTo>
                  <a:pt x="158008" y="396555"/>
                  <a:pt x="158008" y="396555"/>
                  <a:pt x="158008" y="395312"/>
                </a:cubicBezTo>
                <a:cubicBezTo>
                  <a:pt x="158008" y="392825"/>
                  <a:pt x="158008" y="391582"/>
                  <a:pt x="158008" y="390339"/>
                </a:cubicBezTo>
                <a:cubicBezTo>
                  <a:pt x="158008" y="389096"/>
                  <a:pt x="158008" y="389096"/>
                  <a:pt x="158008" y="387853"/>
                </a:cubicBezTo>
                <a:cubicBezTo>
                  <a:pt x="158008" y="386610"/>
                  <a:pt x="156764" y="385367"/>
                  <a:pt x="156764" y="385367"/>
                </a:cubicBezTo>
                <a:cubicBezTo>
                  <a:pt x="156764" y="384123"/>
                  <a:pt x="156764" y="382880"/>
                  <a:pt x="156764" y="382880"/>
                </a:cubicBezTo>
                <a:cubicBezTo>
                  <a:pt x="156764" y="381637"/>
                  <a:pt x="156764" y="380394"/>
                  <a:pt x="156764" y="379151"/>
                </a:cubicBezTo>
                <a:cubicBezTo>
                  <a:pt x="155520" y="379151"/>
                  <a:pt x="155520" y="377908"/>
                  <a:pt x="155520" y="376665"/>
                </a:cubicBezTo>
                <a:cubicBezTo>
                  <a:pt x="154276" y="376665"/>
                  <a:pt x="154276" y="375422"/>
                  <a:pt x="154276" y="374179"/>
                </a:cubicBezTo>
                <a:cubicBezTo>
                  <a:pt x="154276" y="372935"/>
                  <a:pt x="154276" y="372935"/>
                  <a:pt x="153032" y="371692"/>
                </a:cubicBezTo>
                <a:cubicBezTo>
                  <a:pt x="153032" y="371692"/>
                  <a:pt x="153032" y="370449"/>
                  <a:pt x="151788" y="369206"/>
                </a:cubicBezTo>
                <a:cubicBezTo>
                  <a:pt x="151788" y="369206"/>
                  <a:pt x="151788" y="367963"/>
                  <a:pt x="150544" y="366720"/>
                </a:cubicBezTo>
                <a:cubicBezTo>
                  <a:pt x="150544" y="366720"/>
                  <a:pt x="149300" y="365477"/>
                  <a:pt x="149300" y="364234"/>
                </a:cubicBezTo>
                <a:cubicBezTo>
                  <a:pt x="138106" y="348073"/>
                  <a:pt x="120692" y="338128"/>
                  <a:pt x="102034" y="338128"/>
                </a:cubicBezTo>
                <a:close/>
                <a:moveTo>
                  <a:pt x="424712" y="89693"/>
                </a:moveTo>
                <a:cubicBezTo>
                  <a:pt x="430870" y="89693"/>
                  <a:pt x="435798" y="93415"/>
                  <a:pt x="435798" y="99618"/>
                </a:cubicBezTo>
                <a:lnTo>
                  <a:pt x="435798" y="283230"/>
                </a:lnTo>
                <a:cubicBezTo>
                  <a:pt x="435798" y="284471"/>
                  <a:pt x="435798" y="285711"/>
                  <a:pt x="437028" y="285711"/>
                </a:cubicBezTo>
                <a:lnTo>
                  <a:pt x="522012" y="371314"/>
                </a:lnTo>
                <a:cubicBezTo>
                  <a:pt x="525706" y="375036"/>
                  <a:pt x="525706" y="381239"/>
                  <a:pt x="522012" y="386202"/>
                </a:cubicBezTo>
                <a:cubicBezTo>
                  <a:pt x="519548" y="387442"/>
                  <a:pt x="517086" y="388683"/>
                  <a:pt x="514622" y="388683"/>
                </a:cubicBezTo>
                <a:cubicBezTo>
                  <a:pt x="510928" y="388683"/>
                  <a:pt x="508464" y="387442"/>
                  <a:pt x="507232" y="386202"/>
                </a:cubicBezTo>
                <a:lnTo>
                  <a:pt x="422250" y="300599"/>
                </a:lnTo>
                <a:cubicBezTo>
                  <a:pt x="417322" y="295636"/>
                  <a:pt x="416092" y="289433"/>
                  <a:pt x="416092" y="283230"/>
                </a:cubicBezTo>
                <a:lnTo>
                  <a:pt x="416092" y="99618"/>
                </a:lnTo>
                <a:cubicBezTo>
                  <a:pt x="416092" y="93415"/>
                  <a:pt x="419786" y="89693"/>
                  <a:pt x="424712" y="89693"/>
                </a:cubicBezTo>
                <a:close/>
                <a:moveTo>
                  <a:pt x="415488" y="21133"/>
                </a:moveTo>
                <a:cubicBezTo>
                  <a:pt x="349562" y="23619"/>
                  <a:pt x="287370" y="50968"/>
                  <a:pt x="242590" y="91991"/>
                </a:cubicBezTo>
                <a:lnTo>
                  <a:pt x="266224" y="116853"/>
                </a:lnTo>
                <a:cubicBezTo>
                  <a:pt x="271198" y="120582"/>
                  <a:pt x="271198" y="126798"/>
                  <a:pt x="266224" y="130527"/>
                </a:cubicBezTo>
                <a:cubicBezTo>
                  <a:pt x="264980" y="133014"/>
                  <a:pt x="262492" y="134257"/>
                  <a:pt x="258760" y="134257"/>
                </a:cubicBezTo>
                <a:cubicBezTo>
                  <a:pt x="257516" y="134257"/>
                  <a:pt x="253784" y="133014"/>
                  <a:pt x="252540" y="130527"/>
                </a:cubicBezTo>
                <a:lnTo>
                  <a:pt x="227664" y="108151"/>
                </a:lnTo>
                <a:cubicBezTo>
                  <a:pt x="186616" y="151660"/>
                  <a:pt x="159252" y="212573"/>
                  <a:pt x="156764" y="279702"/>
                </a:cubicBezTo>
                <a:lnTo>
                  <a:pt x="190348" y="279702"/>
                </a:lnTo>
                <a:cubicBezTo>
                  <a:pt x="196568" y="279702"/>
                  <a:pt x="201542" y="283431"/>
                  <a:pt x="201542" y="288403"/>
                </a:cubicBezTo>
                <a:cubicBezTo>
                  <a:pt x="201542" y="294619"/>
                  <a:pt x="196568" y="299591"/>
                  <a:pt x="190348" y="299591"/>
                </a:cubicBezTo>
                <a:lnTo>
                  <a:pt x="156764" y="299591"/>
                </a:lnTo>
                <a:cubicBezTo>
                  <a:pt x="156764" y="315752"/>
                  <a:pt x="159252" y="331913"/>
                  <a:pt x="162982" y="348073"/>
                </a:cubicBezTo>
                <a:cubicBezTo>
                  <a:pt x="164226" y="349316"/>
                  <a:pt x="164226" y="350559"/>
                  <a:pt x="165470" y="351802"/>
                </a:cubicBezTo>
                <a:cubicBezTo>
                  <a:pt x="165470" y="351802"/>
                  <a:pt x="165470" y="351802"/>
                  <a:pt x="166714" y="351802"/>
                </a:cubicBezTo>
                <a:cubicBezTo>
                  <a:pt x="166714" y="353046"/>
                  <a:pt x="167958" y="355532"/>
                  <a:pt x="170446" y="358018"/>
                </a:cubicBezTo>
                <a:cubicBezTo>
                  <a:pt x="170446" y="360504"/>
                  <a:pt x="172934" y="361747"/>
                  <a:pt x="172934" y="364234"/>
                </a:cubicBezTo>
                <a:cubicBezTo>
                  <a:pt x="172934" y="365477"/>
                  <a:pt x="174178" y="365477"/>
                  <a:pt x="174178" y="366720"/>
                </a:cubicBezTo>
                <a:cubicBezTo>
                  <a:pt x="174178" y="367963"/>
                  <a:pt x="174178" y="369206"/>
                  <a:pt x="175422" y="371692"/>
                </a:cubicBezTo>
                <a:cubicBezTo>
                  <a:pt x="175422" y="371692"/>
                  <a:pt x="176666" y="372935"/>
                  <a:pt x="176666" y="374179"/>
                </a:cubicBezTo>
                <a:cubicBezTo>
                  <a:pt x="176666" y="375422"/>
                  <a:pt x="176666" y="376665"/>
                  <a:pt x="176666" y="377908"/>
                </a:cubicBezTo>
                <a:cubicBezTo>
                  <a:pt x="177910" y="379151"/>
                  <a:pt x="177910" y="380394"/>
                  <a:pt x="177910" y="381637"/>
                </a:cubicBezTo>
                <a:cubicBezTo>
                  <a:pt x="179152" y="382880"/>
                  <a:pt x="179152" y="384123"/>
                  <a:pt x="179152" y="385367"/>
                </a:cubicBezTo>
                <a:cubicBezTo>
                  <a:pt x="179152" y="386610"/>
                  <a:pt x="179152" y="386610"/>
                  <a:pt x="179152" y="387853"/>
                </a:cubicBezTo>
                <a:cubicBezTo>
                  <a:pt x="179152" y="390339"/>
                  <a:pt x="179152" y="392825"/>
                  <a:pt x="179152" y="395312"/>
                </a:cubicBezTo>
                <a:lnTo>
                  <a:pt x="179152" y="396555"/>
                </a:lnTo>
                <a:cubicBezTo>
                  <a:pt x="191592" y="425146"/>
                  <a:pt x="207762" y="450009"/>
                  <a:pt x="227664" y="471142"/>
                </a:cubicBezTo>
                <a:lnTo>
                  <a:pt x="252540" y="447523"/>
                </a:lnTo>
                <a:cubicBezTo>
                  <a:pt x="256272" y="443793"/>
                  <a:pt x="262492" y="443793"/>
                  <a:pt x="266224" y="447523"/>
                </a:cubicBezTo>
                <a:cubicBezTo>
                  <a:pt x="271198" y="451252"/>
                  <a:pt x="271198" y="458711"/>
                  <a:pt x="266224" y="462440"/>
                </a:cubicBezTo>
                <a:lnTo>
                  <a:pt x="242590" y="486059"/>
                </a:lnTo>
                <a:cubicBezTo>
                  <a:pt x="288612" y="529568"/>
                  <a:pt x="349562" y="554431"/>
                  <a:pt x="415488" y="558160"/>
                </a:cubicBezTo>
                <a:lnTo>
                  <a:pt x="415488" y="523353"/>
                </a:lnTo>
                <a:cubicBezTo>
                  <a:pt x="415488" y="518380"/>
                  <a:pt x="419218" y="513408"/>
                  <a:pt x="424194" y="513408"/>
                </a:cubicBezTo>
                <a:cubicBezTo>
                  <a:pt x="430414" y="513408"/>
                  <a:pt x="435388" y="518380"/>
                  <a:pt x="435388" y="523353"/>
                </a:cubicBezTo>
                <a:lnTo>
                  <a:pt x="435388" y="558160"/>
                </a:lnTo>
                <a:cubicBezTo>
                  <a:pt x="501314" y="554431"/>
                  <a:pt x="561020" y="529568"/>
                  <a:pt x="607042" y="486059"/>
                </a:cubicBezTo>
                <a:lnTo>
                  <a:pt x="583408" y="462440"/>
                </a:lnTo>
                <a:cubicBezTo>
                  <a:pt x="579678" y="458711"/>
                  <a:pt x="579678" y="451252"/>
                  <a:pt x="583408" y="447523"/>
                </a:cubicBezTo>
                <a:cubicBezTo>
                  <a:pt x="587140" y="443793"/>
                  <a:pt x="594604" y="443793"/>
                  <a:pt x="598336" y="447523"/>
                </a:cubicBezTo>
                <a:lnTo>
                  <a:pt x="621968" y="471142"/>
                </a:lnTo>
                <a:cubicBezTo>
                  <a:pt x="641870" y="450009"/>
                  <a:pt x="658040" y="425146"/>
                  <a:pt x="670480" y="397798"/>
                </a:cubicBezTo>
                <a:cubicBezTo>
                  <a:pt x="670480" y="396555"/>
                  <a:pt x="670480" y="396555"/>
                  <a:pt x="670480" y="395312"/>
                </a:cubicBezTo>
                <a:cubicBezTo>
                  <a:pt x="670480" y="392825"/>
                  <a:pt x="670480" y="390339"/>
                  <a:pt x="670480" y="387853"/>
                </a:cubicBezTo>
                <a:cubicBezTo>
                  <a:pt x="671724" y="386610"/>
                  <a:pt x="671724" y="386610"/>
                  <a:pt x="671724" y="385367"/>
                </a:cubicBezTo>
                <a:cubicBezTo>
                  <a:pt x="671724" y="384123"/>
                  <a:pt x="671724" y="382880"/>
                  <a:pt x="671724" y="381637"/>
                </a:cubicBezTo>
                <a:cubicBezTo>
                  <a:pt x="671724" y="379151"/>
                  <a:pt x="671724" y="379151"/>
                  <a:pt x="672966" y="377908"/>
                </a:cubicBezTo>
                <a:cubicBezTo>
                  <a:pt x="672966" y="376665"/>
                  <a:pt x="672966" y="375422"/>
                  <a:pt x="672966" y="374179"/>
                </a:cubicBezTo>
                <a:cubicBezTo>
                  <a:pt x="672966" y="372935"/>
                  <a:pt x="674210" y="371692"/>
                  <a:pt x="674210" y="370449"/>
                </a:cubicBezTo>
                <a:cubicBezTo>
                  <a:pt x="675454" y="369206"/>
                  <a:pt x="675454" y="369206"/>
                  <a:pt x="675454" y="366720"/>
                </a:cubicBezTo>
                <a:cubicBezTo>
                  <a:pt x="675454" y="366720"/>
                  <a:pt x="676698" y="365477"/>
                  <a:pt x="677942" y="364234"/>
                </a:cubicBezTo>
                <a:cubicBezTo>
                  <a:pt x="677942" y="362990"/>
                  <a:pt x="677942" y="361747"/>
                  <a:pt x="679186" y="360504"/>
                </a:cubicBezTo>
                <a:cubicBezTo>
                  <a:pt x="679186" y="359261"/>
                  <a:pt x="679186" y="359261"/>
                  <a:pt x="680430" y="358018"/>
                </a:cubicBezTo>
                <a:cubicBezTo>
                  <a:pt x="681674" y="355532"/>
                  <a:pt x="682918" y="353046"/>
                  <a:pt x="684162" y="351802"/>
                </a:cubicBezTo>
                <a:lnTo>
                  <a:pt x="685406" y="350559"/>
                </a:lnTo>
                <a:cubicBezTo>
                  <a:pt x="685406" y="349316"/>
                  <a:pt x="686650" y="348073"/>
                  <a:pt x="687894" y="346830"/>
                </a:cubicBezTo>
                <a:cubicBezTo>
                  <a:pt x="691624" y="331913"/>
                  <a:pt x="692868" y="315752"/>
                  <a:pt x="692868" y="299591"/>
                </a:cubicBezTo>
                <a:lnTo>
                  <a:pt x="659284" y="299591"/>
                </a:lnTo>
                <a:cubicBezTo>
                  <a:pt x="654308" y="299591"/>
                  <a:pt x="649334" y="294619"/>
                  <a:pt x="649334" y="288403"/>
                </a:cubicBezTo>
                <a:cubicBezTo>
                  <a:pt x="649334" y="283431"/>
                  <a:pt x="654308" y="279702"/>
                  <a:pt x="659284" y="279702"/>
                </a:cubicBezTo>
                <a:lnTo>
                  <a:pt x="692868" y="279702"/>
                </a:lnTo>
                <a:cubicBezTo>
                  <a:pt x="691624" y="212573"/>
                  <a:pt x="664260" y="151660"/>
                  <a:pt x="621968" y="108151"/>
                </a:cubicBezTo>
                <a:lnTo>
                  <a:pt x="598336" y="130527"/>
                </a:lnTo>
                <a:cubicBezTo>
                  <a:pt x="595848" y="133014"/>
                  <a:pt x="593360" y="134257"/>
                  <a:pt x="590872" y="134257"/>
                </a:cubicBezTo>
                <a:cubicBezTo>
                  <a:pt x="588384" y="134257"/>
                  <a:pt x="585896" y="133014"/>
                  <a:pt x="583408" y="130527"/>
                </a:cubicBezTo>
                <a:cubicBezTo>
                  <a:pt x="579678" y="126798"/>
                  <a:pt x="579678" y="120582"/>
                  <a:pt x="583408" y="116853"/>
                </a:cubicBezTo>
                <a:lnTo>
                  <a:pt x="607042" y="91991"/>
                </a:lnTo>
                <a:cubicBezTo>
                  <a:pt x="562264" y="50968"/>
                  <a:pt x="501314" y="23619"/>
                  <a:pt x="435388" y="21133"/>
                </a:cubicBezTo>
                <a:lnTo>
                  <a:pt x="435388" y="54697"/>
                </a:lnTo>
                <a:cubicBezTo>
                  <a:pt x="435388" y="60913"/>
                  <a:pt x="430414" y="65885"/>
                  <a:pt x="424194" y="65885"/>
                </a:cubicBezTo>
                <a:cubicBezTo>
                  <a:pt x="419218" y="65885"/>
                  <a:pt x="415488" y="60913"/>
                  <a:pt x="415488" y="54697"/>
                </a:cubicBezTo>
                <a:close/>
                <a:moveTo>
                  <a:pt x="424194" y="0"/>
                </a:moveTo>
                <a:cubicBezTo>
                  <a:pt x="584652" y="0"/>
                  <a:pt x="715258" y="129284"/>
                  <a:pt x="715258" y="288403"/>
                </a:cubicBezTo>
                <a:cubicBezTo>
                  <a:pt x="715258" y="300835"/>
                  <a:pt x="714014" y="314509"/>
                  <a:pt x="712770" y="325697"/>
                </a:cubicBezTo>
                <a:cubicBezTo>
                  <a:pt x="722722" y="320724"/>
                  <a:pt x="735160" y="316995"/>
                  <a:pt x="748842" y="316995"/>
                </a:cubicBezTo>
                <a:cubicBezTo>
                  <a:pt x="791134" y="316995"/>
                  <a:pt x="827206" y="351802"/>
                  <a:pt x="827206" y="395312"/>
                </a:cubicBezTo>
                <a:cubicBezTo>
                  <a:pt x="827206" y="437578"/>
                  <a:pt x="791134" y="473628"/>
                  <a:pt x="748842" y="473628"/>
                </a:cubicBezTo>
                <a:cubicBezTo>
                  <a:pt x="717746" y="473628"/>
                  <a:pt x="691624" y="454981"/>
                  <a:pt x="677942" y="428876"/>
                </a:cubicBezTo>
                <a:cubicBezTo>
                  <a:pt x="628188" y="520866"/>
                  <a:pt x="531166" y="579293"/>
                  <a:pt x="424194" y="579293"/>
                </a:cubicBezTo>
                <a:cubicBezTo>
                  <a:pt x="319710" y="579293"/>
                  <a:pt x="221444" y="520866"/>
                  <a:pt x="171690" y="428876"/>
                </a:cubicBezTo>
                <a:cubicBezTo>
                  <a:pt x="158008" y="454981"/>
                  <a:pt x="131886" y="473628"/>
                  <a:pt x="102034" y="473628"/>
                </a:cubicBezTo>
                <a:cubicBezTo>
                  <a:pt x="58498" y="473628"/>
                  <a:pt x="23670" y="437578"/>
                  <a:pt x="23670" y="395312"/>
                </a:cubicBezTo>
                <a:cubicBezTo>
                  <a:pt x="23670" y="351802"/>
                  <a:pt x="58498" y="316995"/>
                  <a:pt x="102034" y="316995"/>
                </a:cubicBezTo>
                <a:cubicBezTo>
                  <a:pt x="114472" y="316995"/>
                  <a:pt x="128154" y="320724"/>
                  <a:pt x="138106" y="325697"/>
                </a:cubicBezTo>
                <a:cubicBezTo>
                  <a:pt x="136862" y="314509"/>
                  <a:pt x="135618" y="302078"/>
                  <a:pt x="135618" y="288403"/>
                </a:cubicBezTo>
                <a:cubicBezTo>
                  <a:pt x="135618" y="129284"/>
                  <a:pt x="264980" y="0"/>
                  <a:pt x="424194" y="0"/>
                </a:cubicBezTo>
                <a:close/>
              </a:path>
            </a:pathLst>
          </a:custGeom>
          <a:solidFill>
            <a:schemeClr val="accent5"/>
          </a:solidFill>
          <a:ln cap="flat">
            <a:noFill/>
            <a:prstDash val="solid"/>
          </a:ln>
        </p:spPr>
        <p:txBody>
          <a:bodyPr vert="horz" wrap="square" lIns="45000" tIns="22500" rIns="45000" bIns="22500" anchor="ctr" anchorCtr="1" compatLnSpc="0">
            <a:noAutofit/>
          </a:bodyPr>
          <a:lstStyle/>
          <a:p>
            <a:pPr hangingPunct="0"/>
            <a:endParaRPr lang="en-US" sz="900">
              <a:latin typeface="Poppins" panose="00000500000000000000" pitchFamily="2" charset="0"/>
              <a:ea typeface="Microsoft YaHei" pitchFamily="2"/>
              <a:cs typeface="Lucida Sans" pitchFamily="2"/>
            </a:endParaRPr>
          </a:p>
        </p:txBody>
      </p:sp>
      <p:sp>
        <p:nvSpPr>
          <p:cNvPr id="97" name="Freeform: Shape 96">
            <a:extLst>
              <a:ext uri="{FF2B5EF4-FFF2-40B4-BE49-F238E27FC236}">
                <a16:creationId xmlns:a16="http://schemas.microsoft.com/office/drawing/2014/main" id="{E0BF61B0-52A9-4EC4-86C0-B69256F9640E}"/>
              </a:ext>
            </a:extLst>
          </p:cNvPr>
          <p:cNvSpPr/>
          <p:nvPr/>
        </p:nvSpPr>
        <p:spPr>
          <a:xfrm>
            <a:off x="10084740" y="3331267"/>
            <a:ext cx="349714" cy="394918"/>
          </a:xfrm>
          <a:custGeom>
            <a:avLst/>
            <a:gdLst>
              <a:gd name="connsiteX0" fmla="*/ 345047 w 699428"/>
              <a:gd name="connsiteY0" fmla="*/ 469342 h 789835"/>
              <a:gd name="connsiteX1" fmla="*/ 296547 w 699428"/>
              <a:gd name="connsiteY1" fmla="*/ 654433 h 789835"/>
              <a:gd name="connsiteX2" fmla="*/ 292817 w 699428"/>
              <a:gd name="connsiteY2" fmla="*/ 679277 h 789835"/>
              <a:gd name="connsiteX3" fmla="*/ 292817 w 699428"/>
              <a:gd name="connsiteY3" fmla="*/ 764991 h 789835"/>
              <a:gd name="connsiteX4" fmla="*/ 300279 w 699428"/>
              <a:gd name="connsiteY4" fmla="*/ 766233 h 789835"/>
              <a:gd name="connsiteX5" fmla="*/ 316445 w 699428"/>
              <a:gd name="connsiteY5" fmla="*/ 767475 h 789835"/>
              <a:gd name="connsiteX6" fmla="*/ 323907 w 699428"/>
              <a:gd name="connsiteY6" fmla="*/ 768717 h 789835"/>
              <a:gd name="connsiteX7" fmla="*/ 347535 w 699428"/>
              <a:gd name="connsiteY7" fmla="*/ 768717 h 789835"/>
              <a:gd name="connsiteX8" fmla="*/ 348777 w 699428"/>
              <a:gd name="connsiteY8" fmla="*/ 768717 h 789835"/>
              <a:gd name="connsiteX9" fmla="*/ 351265 w 699428"/>
              <a:gd name="connsiteY9" fmla="*/ 768717 h 789835"/>
              <a:gd name="connsiteX10" fmla="*/ 374893 w 699428"/>
              <a:gd name="connsiteY10" fmla="*/ 768717 h 789835"/>
              <a:gd name="connsiteX11" fmla="*/ 381111 w 699428"/>
              <a:gd name="connsiteY11" fmla="*/ 767475 h 789835"/>
              <a:gd name="connsiteX12" fmla="*/ 398521 w 699428"/>
              <a:gd name="connsiteY12" fmla="*/ 767475 h 789835"/>
              <a:gd name="connsiteX13" fmla="*/ 402251 w 699428"/>
              <a:gd name="connsiteY13" fmla="*/ 766233 h 789835"/>
              <a:gd name="connsiteX14" fmla="*/ 402251 w 699428"/>
              <a:gd name="connsiteY14" fmla="*/ 680520 h 789835"/>
              <a:gd name="connsiteX15" fmla="*/ 399765 w 699428"/>
              <a:gd name="connsiteY15" fmla="*/ 654433 h 789835"/>
              <a:gd name="connsiteX16" fmla="*/ 351265 w 699428"/>
              <a:gd name="connsiteY16" fmla="*/ 469342 h 789835"/>
              <a:gd name="connsiteX17" fmla="*/ 350021 w 699428"/>
              <a:gd name="connsiteY17" fmla="*/ 469342 h 789835"/>
              <a:gd name="connsiteX18" fmla="*/ 348777 w 699428"/>
              <a:gd name="connsiteY18" fmla="*/ 469342 h 789835"/>
              <a:gd name="connsiteX19" fmla="*/ 496763 w 699428"/>
              <a:gd name="connsiteY19" fmla="*/ 377418 h 789835"/>
              <a:gd name="connsiteX20" fmla="*/ 373649 w 699428"/>
              <a:gd name="connsiteY20" fmla="*/ 468100 h 789835"/>
              <a:gd name="connsiteX21" fmla="*/ 419661 w 699428"/>
              <a:gd name="connsiteY21" fmla="*/ 649464 h 789835"/>
              <a:gd name="connsiteX22" fmla="*/ 424635 w 699428"/>
              <a:gd name="connsiteY22" fmla="*/ 680520 h 789835"/>
              <a:gd name="connsiteX23" fmla="*/ 424635 w 699428"/>
              <a:gd name="connsiteY23" fmla="*/ 762506 h 789835"/>
              <a:gd name="connsiteX24" fmla="*/ 529097 w 699428"/>
              <a:gd name="connsiteY24" fmla="*/ 733935 h 789835"/>
              <a:gd name="connsiteX25" fmla="*/ 529097 w 699428"/>
              <a:gd name="connsiteY25" fmla="*/ 555055 h 789835"/>
              <a:gd name="connsiteX26" fmla="*/ 539045 w 699428"/>
              <a:gd name="connsiteY26" fmla="*/ 545118 h 789835"/>
              <a:gd name="connsiteX27" fmla="*/ 548993 w 699428"/>
              <a:gd name="connsiteY27" fmla="*/ 555055 h 789835"/>
              <a:gd name="connsiteX28" fmla="*/ 548993 w 699428"/>
              <a:gd name="connsiteY28" fmla="*/ 726482 h 789835"/>
              <a:gd name="connsiteX29" fmla="*/ 658429 w 699428"/>
              <a:gd name="connsiteY29" fmla="*/ 656917 h 789835"/>
              <a:gd name="connsiteX30" fmla="*/ 677081 w 699428"/>
              <a:gd name="connsiteY30" fmla="*/ 603502 h 789835"/>
              <a:gd name="connsiteX31" fmla="*/ 657185 w 699428"/>
              <a:gd name="connsiteY31" fmla="*/ 512820 h 789835"/>
              <a:gd name="connsiteX32" fmla="*/ 537801 w 699428"/>
              <a:gd name="connsiteY32" fmla="*/ 377418 h 789835"/>
              <a:gd name="connsiteX33" fmla="*/ 418419 w 699428"/>
              <a:gd name="connsiteY33" fmla="*/ 377418 h 789835"/>
              <a:gd name="connsiteX34" fmla="*/ 410957 w 699428"/>
              <a:gd name="connsiteY34" fmla="*/ 381144 h 789835"/>
              <a:gd name="connsiteX35" fmla="*/ 373649 w 699428"/>
              <a:gd name="connsiteY35" fmla="*/ 446982 h 789835"/>
              <a:gd name="connsiteX36" fmla="*/ 475623 w 699428"/>
              <a:gd name="connsiteY36" fmla="*/ 377418 h 789835"/>
              <a:gd name="connsiteX37" fmla="*/ 221933 w 699428"/>
              <a:gd name="connsiteY37" fmla="*/ 377418 h 789835"/>
              <a:gd name="connsiteX38" fmla="*/ 326393 w 699428"/>
              <a:gd name="connsiteY38" fmla="*/ 448224 h 789835"/>
              <a:gd name="connsiteX39" fmla="*/ 287843 w 699428"/>
              <a:gd name="connsiteY39" fmla="*/ 381144 h 789835"/>
              <a:gd name="connsiteX40" fmla="*/ 281625 w 699428"/>
              <a:gd name="connsiteY40" fmla="*/ 377418 h 789835"/>
              <a:gd name="connsiteX41" fmla="*/ 160999 w 699428"/>
              <a:gd name="connsiteY41" fmla="*/ 377418 h 789835"/>
              <a:gd name="connsiteX42" fmla="*/ 42859 w 699428"/>
              <a:gd name="connsiteY42" fmla="*/ 512820 h 789835"/>
              <a:gd name="connsiteX43" fmla="*/ 22961 w 699428"/>
              <a:gd name="connsiteY43" fmla="*/ 603502 h 789835"/>
              <a:gd name="connsiteX44" fmla="*/ 40371 w 699428"/>
              <a:gd name="connsiteY44" fmla="*/ 656917 h 789835"/>
              <a:gd name="connsiteX45" fmla="*/ 149805 w 699428"/>
              <a:gd name="connsiteY45" fmla="*/ 726482 h 789835"/>
              <a:gd name="connsiteX46" fmla="*/ 149805 w 699428"/>
              <a:gd name="connsiteY46" fmla="*/ 555055 h 789835"/>
              <a:gd name="connsiteX47" fmla="*/ 159755 w 699428"/>
              <a:gd name="connsiteY47" fmla="*/ 545118 h 789835"/>
              <a:gd name="connsiteX48" fmla="*/ 170947 w 699428"/>
              <a:gd name="connsiteY48" fmla="*/ 555055 h 789835"/>
              <a:gd name="connsiteX49" fmla="*/ 170947 w 699428"/>
              <a:gd name="connsiteY49" fmla="*/ 733935 h 789835"/>
              <a:gd name="connsiteX50" fmla="*/ 272919 w 699428"/>
              <a:gd name="connsiteY50" fmla="*/ 762506 h 789835"/>
              <a:gd name="connsiteX51" fmla="*/ 272919 w 699428"/>
              <a:gd name="connsiteY51" fmla="*/ 679277 h 789835"/>
              <a:gd name="connsiteX52" fmla="*/ 276651 w 699428"/>
              <a:gd name="connsiteY52" fmla="*/ 649464 h 789835"/>
              <a:gd name="connsiteX53" fmla="*/ 323907 w 699428"/>
              <a:gd name="connsiteY53" fmla="*/ 468100 h 789835"/>
              <a:gd name="connsiteX54" fmla="*/ 200793 w 699428"/>
              <a:gd name="connsiteY54" fmla="*/ 377418 h 789835"/>
              <a:gd name="connsiteX55" fmla="*/ 160999 w 699428"/>
              <a:gd name="connsiteY55" fmla="*/ 356300 h 789835"/>
              <a:gd name="connsiteX56" fmla="*/ 198305 w 699428"/>
              <a:gd name="connsiteY56" fmla="*/ 356300 h 789835"/>
              <a:gd name="connsiteX57" fmla="*/ 281625 w 699428"/>
              <a:gd name="connsiteY57" fmla="*/ 356300 h 789835"/>
              <a:gd name="connsiteX58" fmla="*/ 287843 w 699428"/>
              <a:gd name="connsiteY58" fmla="*/ 356300 h 789835"/>
              <a:gd name="connsiteX59" fmla="*/ 296547 w 699428"/>
              <a:gd name="connsiteY59" fmla="*/ 360027 h 789835"/>
              <a:gd name="connsiteX60" fmla="*/ 306497 w 699428"/>
              <a:gd name="connsiteY60" fmla="*/ 369964 h 789835"/>
              <a:gd name="connsiteX61" fmla="*/ 348777 w 699428"/>
              <a:gd name="connsiteY61" fmla="*/ 445740 h 789835"/>
              <a:gd name="connsiteX62" fmla="*/ 393547 w 699428"/>
              <a:gd name="connsiteY62" fmla="*/ 369964 h 789835"/>
              <a:gd name="connsiteX63" fmla="*/ 399765 w 699428"/>
              <a:gd name="connsiteY63" fmla="*/ 362511 h 789835"/>
              <a:gd name="connsiteX64" fmla="*/ 409713 w 699428"/>
              <a:gd name="connsiteY64" fmla="*/ 356300 h 789835"/>
              <a:gd name="connsiteX65" fmla="*/ 418419 w 699428"/>
              <a:gd name="connsiteY65" fmla="*/ 356300 h 789835"/>
              <a:gd name="connsiteX66" fmla="*/ 499251 w 699428"/>
              <a:gd name="connsiteY66" fmla="*/ 356300 h 789835"/>
              <a:gd name="connsiteX67" fmla="*/ 537801 w 699428"/>
              <a:gd name="connsiteY67" fmla="*/ 356300 h 789835"/>
              <a:gd name="connsiteX68" fmla="*/ 675839 w 699428"/>
              <a:gd name="connsiteY68" fmla="*/ 506609 h 789835"/>
              <a:gd name="connsiteX69" fmla="*/ 696979 w 699428"/>
              <a:gd name="connsiteY69" fmla="*/ 598533 h 789835"/>
              <a:gd name="connsiteX70" fmla="*/ 672107 w 699428"/>
              <a:gd name="connsiteY70" fmla="*/ 673066 h 789835"/>
              <a:gd name="connsiteX71" fmla="*/ 424635 w 699428"/>
              <a:gd name="connsiteY71" fmla="*/ 784866 h 789835"/>
              <a:gd name="connsiteX72" fmla="*/ 414687 w 699428"/>
              <a:gd name="connsiteY72" fmla="*/ 786108 h 789835"/>
              <a:gd name="connsiteX73" fmla="*/ 396033 w 699428"/>
              <a:gd name="connsiteY73" fmla="*/ 788593 h 789835"/>
              <a:gd name="connsiteX74" fmla="*/ 389815 w 699428"/>
              <a:gd name="connsiteY74" fmla="*/ 788593 h 789835"/>
              <a:gd name="connsiteX75" fmla="*/ 376137 w 699428"/>
              <a:gd name="connsiteY75" fmla="*/ 788593 h 789835"/>
              <a:gd name="connsiteX76" fmla="*/ 368675 w 699428"/>
              <a:gd name="connsiteY76" fmla="*/ 789835 h 789835"/>
              <a:gd name="connsiteX77" fmla="*/ 351265 w 699428"/>
              <a:gd name="connsiteY77" fmla="*/ 789835 h 789835"/>
              <a:gd name="connsiteX78" fmla="*/ 348777 w 699428"/>
              <a:gd name="connsiteY78" fmla="*/ 789835 h 789835"/>
              <a:gd name="connsiteX79" fmla="*/ 330125 w 699428"/>
              <a:gd name="connsiteY79" fmla="*/ 789835 h 789835"/>
              <a:gd name="connsiteX80" fmla="*/ 322663 w 699428"/>
              <a:gd name="connsiteY80" fmla="*/ 788593 h 789835"/>
              <a:gd name="connsiteX81" fmla="*/ 308983 w 699428"/>
              <a:gd name="connsiteY81" fmla="*/ 788593 h 789835"/>
              <a:gd name="connsiteX82" fmla="*/ 304009 w 699428"/>
              <a:gd name="connsiteY82" fmla="*/ 788593 h 789835"/>
              <a:gd name="connsiteX83" fmla="*/ 281625 w 699428"/>
              <a:gd name="connsiteY83" fmla="*/ 784866 h 789835"/>
              <a:gd name="connsiteX84" fmla="*/ 272919 w 699428"/>
              <a:gd name="connsiteY84" fmla="*/ 784866 h 789835"/>
              <a:gd name="connsiteX85" fmla="*/ 272919 w 699428"/>
              <a:gd name="connsiteY85" fmla="*/ 783624 h 789835"/>
              <a:gd name="connsiteX86" fmla="*/ 27935 w 699428"/>
              <a:gd name="connsiteY86" fmla="*/ 673066 h 789835"/>
              <a:gd name="connsiteX87" fmla="*/ 1821 w 699428"/>
              <a:gd name="connsiteY87" fmla="*/ 598533 h 789835"/>
              <a:gd name="connsiteX88" fmla="*/ 22961 w 699428"/>
              <a:gd name="connsiteY88" fmla="*/ 506609 h 789835"/>
              <a:gd name="connsiteX89" fmla="*/ 160999 w 699428"/>
              <a:gd name="connsiteY89" fmla="*/ 356300 h 789835"/>
              <a:gd name="connsiteX90" fmla="*/ 398407 w 699428"/>
              <a:gd name="connsiteY90" fmla="*/ 100519 h 789835"/>
              <a:gd name="connsiteX91" fmla="*/ 242045 w 699428"/>
              <a:gd name="connsiteY91" fmla="*/ 146436 h 789835"/>
              <a:gd name="connsiteX92" fmla="*/ 208537 w 699428"/>
              <a:gd name="connsiteY92" fmla="*/ 145195 h 789835"/>
              <a:gd name="connsiteX93" fmla="*/ 207297 w 699428"/>
              <a:gd name="connsiteY93" fmla="*/ 161327 h 789835"/>
              <a:gd name="connsiteX94" fmla="*/ 347527 w 699428"/>
              <a:gd name="connsiteY94" fmla="*/ 300317 h 789835"/>
              <a:gd name="connsiteX95" fmla="*/ 486517 w 699428"/>
              <a:gd name="connsiteY95" fmla="*/ 171255 h 789835"/>
              <a:gd name="connsiteX96" fmla="*/ 398407 w 699428"/>
              <a:gd name="connsiteY96" fmla="*/ 100519 h 789835"/>
              <a:gd name="connsiteX97" fmla="*/ 443083 w 699428"/>
              <a:gd name="connsiteY97" fmla="*/ 58326 h 789835"/>
              <a:gd name="connsiteX98" fmla="*/ 415781 w 699428"/>
              <a:gd name="connsiteY98" fmla="*/ 86869 h 789835"/>
              <a:gd name="connsiteX99" fmla="*/ 486517 w 699428"/>
              <a:gd name="connsiteY99" fmla="*/ 148918 h 789835"/>
              <a:gd name="connsiteX100" fmla="*/ 443083 w 699428"/>
              <a:gd name="connsiteY100" fmla="*/ 58326 h 789835"/>
              <a:gd name="connsiteX101" fmla="*/ 347527 w 699428"/>
              <a:gd name="connsiteY101" fmla="*/ 19856 h 789835"/>
              <a:gd name="connsiteX102" fmla="*/ 212261 w 699428"/>
              <a:gd name="connsiteY102" fmla="*/ 124098 h 789835"/>
              <a:gd name="connsiteX103" fmla="*/ 426951 w 699428"/>
              <a:gd name="connsiteY103" fmla="*/ 45916 h 789835"/>
              <a:gd name="connsiteX104" fmla="*/ 347527 w 699428"/>
              <a:gd name="connsiteY104" fmla="*/ 19856 h 789835"/>
              <a:gd name="connsiteX105" fmla="*/ 347527 w 699428"/>
              <a:gd name="connsiteY105" fmla="*/ 0 h 789835"/>
              <a:gd name="connsiteX106" fmla="*/ 507615 w 699428"/>
              <a:gd name="connsiteY106" fmla="*/ 161327 h 789835"/>
              <a:gd name="connsiteX107" fmla="*/ 347527 w 699428"/>
              <a:gd name="connsiteY107" fmla="*/ 321414 h 789835"/>
              <a:gd name="connsiteX108" fmla="*/ 186199 w 699428"/>
              <a:gd name="connsiteY108" fmla="*/ 161327 h 789835"/>
              <a:gd name="connsiteX109" fmla="*/ 347527 w 699428"/>
              <a:gd name="connsiteY109" fmla="*/ 0 h 789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</a:cxnLst>
            <a:rect l="l" t="t" r="r" b="b"/>
            <a:pathLst>
              <a:path w="699428" h="789835">
                <a:moveTo>
                  <a:pt x="345047" y="469342"/>
                </a:moveTo>
                <a:lnTo>
                  <a:pt x="296547" y="654433"/>
                </a:lnTo>
                <a:cubicBezTo>
                  <a:pt x="295305" y="663128"/>
                  <a:pt x="292817" y="670582"/>
                  <a:pt x="292817" y="679277"/>
                </a:cubicBezTo>
                <a:lnTo>
                  <a:pt x="292817" y="764991"/>
                </a:lnTo>
                <a:cubicBezTo>
                  <a:pt x="295305" y="766233"/>
                  <a:pt x="297791" y="766233"/>
                  <a:pt x="300279" y="766233"/>
                </a:cubicBezTo>
                <a:cubicBezTo>
                  <a:pt x="305253" y="767475"/>
                  <a:pt x="310227" y="767475"/>
                  <a:pt x="316445" y="767475"/>
                </a:cubicBezTo>
                <a:cubicBezTo>
                  <a:pt x="318933" y="767475"/>
                  <a:pt x="321419" y="768717"/>
                  <a:pt x="323907" y="768717"/>
                </a:cubicBezTo>
                <a:cubicBezTo>
                  <a:pt x="332611" y="768717"/>
                  <a:pt x="340073" y="768717"/>
                  <a:pt x="347535" y="768717"/>
                </a:cubicBezTo>
                <a:lnTo>
                  <a:pt x="348777" y="768717"/>
                </a:lnTo>
                <a:lnTo>
                  <a:pt x="351265" y="768717"/>
                </a:lnTo>
                <a:cubicBezTo>
                  <a:pt x="359971" y="768717"/>
                  <a:pt x="367431" y="768717"/>
                  <a:pt x="374893" y="768717"/>
                </a:cubicBezTo>
                <a:cubicBezTo>
                  <a:pt x="376137" y="768717"/>
                  <a:pt x="378623" y="768717"/>
                  <a:pt x="381111" y="767475"/>
                </a:cubicBezTo>
                <a:cubicBezTo>
                  <a:pt x="387329" y="767475"/>
                  <a:pt x="392303" y="767475"/>
                  <a:pt x="398521" y="767475"/>
                </a:cubicBezTo>
                <a:cubicBezTo>
                  <a:pt x="399765" y="766233"/>
                  <a:pt x="401009" y="766233"/>
                  <a:pt x="402251" y="766233"/>
                </a:cubicBezTo>
                <a:lnTo>
                  <a:pt x="402251" y="680520"/>
                </a:lnTo>
                <a:cubicBezTo>
                  <a:pt x="402251" y="670582"/>
                  <a:pt x="402251" y="663128"/>
                  <a:pt x="399765" y="654433"/>
                </a:cubicBezTo>
                <a:lnTo>
                  <a:pt x="351265" y="469342"/>
                </a:lnTo>
                <a:cubicBezTo>
                  <a:pt x="351265" y="469342"/>
                  <a:pt x="351265" y="469342"/>
                  <a:pt x="350021" y="469342"/>
                </a:cubicBezTo>
                <a:cubicBezTo>
                  <a:pt x="350021" y="469342"/>
                  <a:pt x="350021" y="469342"/>
                  <a:pt x="348777" y="469342"/>
                </a:cubicBezTo>
                <a:close/>
                <a:moveTo>
                  <a:pt x="496763" y="377418"/>
                </a:moveTo>
                <a:cubicBezTo>
                  <a:pt x="490545" y="401020"/>
                  <a:pt x="465673" y="460647"/>
                  <a:pt x="373649" y="468100"/>
                </a:cubicBezTo>
                <a:lnTo>
                  <a:pt x="419661" y="649464"/>
                </a:lnTo>
                <a:cubicBezTo>
                  <a:pt x="422149" y="659402"/>
                  <a:pt x="424635" y="669340"/>
                  <a:pt x="424635" y="680520"/>
                </a:cubicBezTo>
                <a:lnTo>
                  <a:pt x="424635" y="762506"/>
                </a:lnTo>
                <a:cubicBezTo>
                  <a:pt x="459457" y="757537"/>
                  <a:pt x="494277" y="747600"/>
                  <a:pt x="529097" y="733935"/>
                </a:cubicBezTo>
                <a:lnTo>
                  <a:pt x="529097" y="555055"/>
                </a:lnTo>
                <a:cubicBezTo>
                  <a:pt x="529097" y="548844"/>
                  <a:pt x="534071" y="545118"/>
                  <a:pt x="539045" y="545118"/>
                </a:cubicBezTo>
                <a:cubicBezTo>
                  <a:pt x="545263" y="545118"/>
                  <a:pt x="548993" y="548844"/>
                  <a:pt x="548993" y="555055"/>
                </a:cubicBezTo>
                <a:lnTo>
                  <a:pt x="548993" y="726482"/>
                </a:lnTo>
                <a:cubicBezTo>
                  <a:pt x="588787" y="707848"/>
                  <a:pt x="626095" y="684246"/>
                  <a:pt x="658429" y="656917"/>
                </a:cubicBezTo>
                <a:cubicBezTo>
                  <a:pt x="674595" y="644495"/>
                  <a:pt x="682055" y="623377"/>
                  <a:pt x="677081" y="603502"/>
                </a:cubicBezTo>
                <a:lnTo>
                  <a:pt x="657185" y="512820"/>
                </a:lnTo>
                <a:cubicBezTo>
                  <a:pt x="621121" y="388598"/>
                  <a:pt x="603711" y="377418"/>
                  <a:pt x="537801" y="377418"/>
                </a:cubicBezTo>
                <a:close/>
                <a:moveTo>
                  <a:pt x="418419" y="377418"/>
                </a:moveTo>
                <a:cubicBezTo>
                  <a:pt x="415931" y="377418"/>
                  <a:pt x="412201" y="378660"/>
                  <a:pt x="410957" y="381144"/>
                </a:cubicBezTo>
                <a:lnTo>
                  <a:pt x="373649" y="446982"/>
                </a:lnTo>
                <a:cubicBezTo>
                  <a:pt x="447021" y="440771"/>
                  <a:pt x="469405" y="397293"/>
                  <a:pt x="475623" y="377418"/>
                </a:cubicBezTo>
                <a:close/>
                <a:moveTo>
                  <a:pt x="221933" y="377418"/>
                </a:moveTo>
                <a:cubicBezTo>
                  <a:pt x="229395" y="397293"/>
                  <a:pt x="251779" y="442013"/>
                  <a:pt x="326393" y="448224"/>
                </a:cubicBezTo>
                <a:lnTo>
                  <a:pt x="287843" y="381144"/>
                </a:lnTo>
                <a:cubicBezTo>
                  <a:pt x="286599" y="378660"/>
                  <a:pt x="284113" y="377418"/>
                  <a:pt x="281625" y="377418"/>
                </a:cubicBezTo>
                <a:close/>
                <a:moveTo>
                  <a:pt x="160999" y="377418"/>
                </a:moveTo>
                <a:cubicBezTo>
                  <a:pt x="95089" y="377418"/>
                  <a:pt x="77679" y="388598"/>
                  <a:pt x="42859" y="512820"/>
                </a:cubicBezTo>
                <a:lnTo>
                  <a:pt x="22961" y="603502"/>
                </a:lnTo>
                <a:cubicBezTo>
                  <a:pt x="17987" y="623377"/>
                  <a:pt x="25449" y="644495"/>
                  <a:pt x="40371" y="656917"/>
                </a:cubicBezTo>
                <a:cubicBezTo>
                  <a:pt x="73947" y="684246"/>
                  <a:pt x="111255" y="707848"/>
                  <a:pt x="149805" y="726482"/>
                </a:cubicBezTo>
                <a:lnTo>
                  <a:pt x="149805" y="555055"/>
                </a:lnTo>
                <a:cubicBezTo>
                  <a:pt x="149805" y="548844"/>
                  <a:pt x="154781" y="545118"/>
                  <a:pt x="159755" y="545118"/>
                </a:cubicBezTo>
                <a:cubicBezTo>
                  <a:pt x="165973" y="545118"/>
                  <a:pt x="170947" y="548844"/>
                  <a:pt x="170947" y="555055"/>
                </a:cubicBezTo>
                <a:lnTo>
                  <a:pt x="170947" y="733935"/>
                </a:lnTo>
                <a:cubicBezTo>
                  <a:pt x="203279" y="747600"/>
                  <a:pt x="238099" y="756295"/>
                  <a:pt x="272919" y="762506"/>
                </a:cubicBezTo>
                <a:lnTo>
                  <a:pt x="272919" y="679277"/>
                </a:lnTo>
                <a:cubicBezTo>
                  <a:pt x="272919" y="669340"/>
                  <a:pt x="274163" y="659402"/>
                  <a:pt x="276651" y="649464"/>
                </a:cubicBezTo>
                <a:lnTo>
                  <a:pt x="323907" y="468100"/>
                </a:lnTo>
                <a:cubicBezTo>
                  <a:pt x="231881" y="460647"/>
                  <a:pt x="207011" y="401020"/>
                  <a:pt x="200793" y="377418"/>
                </a:cubicBezTo>
                <a:close/>
                <a:moveTo>
                  <a:pt x="160999" y="356300"/>
                </a:moveTo>
                <a:lnTo>
                  <a:pt x="198305" y="356300"/>
                </a:lnTo>
                <a:lnTo>
                  <a:pt x="281625" y="356300"/>
                </a:lnTo>
                <a:lnTo>
                  <a:pt x="287843" y="356300"/>
                </a:lnTo>
                <a:cubicBezTo>
                  <a:pt x="291573" y="356300"/>
                  <a:pt x="295305" y="357542"/>
                  <a:pt x="296547" y="360027"/>
                </a:cubicBezTo>
                <a:cubicBezTo>
                  <a:pt x="300279" y="362511"/>
                  <a:pt x="304009" y="366238"/>
                  <a:pt x="306497" y="369964"/>
                </a:cubicBezTo>
                <a:lnTo>
                  <a:pt x="348777" y="445740"/>
                </a:lnTo>
                <a:lnTo>
                  <a:pt x="393547" y="369964"/>
                </a:lnTo>
                <a:cubicBezTo>
                  <a:pt x="394791" y="367480"/>
                  <a:pt x="397277" y="364996"/>
                  <a:pt x="399765" y="362511"/>
                </a:cubicBezTo>
                <a:cubicBezTo>
                  <a:pt x="401009" y="358784"/>
                  <a:pt x="404739" y="356300"/>
                  <a:pt x="409713" y="356300"/>
                </a:cubicBezTo>
                <a:lnTo>
                  <a:pt x="418419" y="356300"/>
                </a:lnTo>
                <a:lnTo>
                  <a:pt x="499251" y="356300"/>
                </a:lnTo>
                <a:lnTo>
                  <a:pt x="537801" y="356300"/>
                </a:lnTo>
                <a:cubicBezTo>
                  <a:pt x="618633" y="356300"/>
                  <a:pt x="641019" y="379902"/>
                  <a:pt x="675839" y="506609"/>
                </a:cubicBezTo>
                <a:lnTo>
                  <a:pt x="696979" y="598533"/>
                </a:lnTo>
                <a:cubicBezTo>
                  <a:pt x="704441" y="625862"/>
                  <a:pt x="694491" y="655675"/>
                  <a:pt x="672107" y="673066"/>
                </a:cubicBezTo>
                <a:cubicBezTo>
                  <a:pt x="601223" y="732693"/>
                  <a:pt x="514173" y="769959"/>
                  <a:pt x="424635" y="784866"/>
                </a:cubicBezTo>
                <a:lnTo>
                  <a:pt x="414687" y="786108"/>
                </a:lnTo>
                <a:cubicBezTo>
                  <a:pt x="408469" y="786108"/>
                  <a:pt x="402251" y="787351"/>
                  <a:pt x="396033" y="788593"/>
                </a:cubicBezTo>
                <a:cubicBezTo>
                  <a:pt x="393547" y="788593"/>
                  <a:pt x="392303" y="788593"/>
                  <a:pt x="389815" y="788593"/>
                </a:cubicBezTo>
                <a:cubicBezTo>
                  <a:pt x="384841" y="788593"/>
                  <a:pt x="381111" y="788593"/>
                  <a:pt x="376137" y="788593"/>
                </a:cubicBezTo>
                <a:cubicBezTo>
                  <a:pt x="373649" y="789835"/>
                  <a:pt x="371163" y="789835"/>
                  <a:pt x="368675" y="789835"/>
                </a:cubicBezTo>
                <a:cubicBezTo>
                  <a:pt x="362457" y="789835"/>
                  <a:pt x="357483" y="789835"/>
                  <a:pt x="351265" y="789835"/>
                </a:cubicBezTo>
                <a:cubicBezTo>
                  <a:pt x="350021" y="789835"/>
                  <a:pt x="350021" y="789835"/>
                  <a:pt x="348777" y="789835"/>
                </a:cubicBezTo>
                <a:cubicBezTo>
                  <a:pt x="341317" y="789835"/>
                  <a:pt x="335099" y="789835"/>
                  <a:pt x="330125" y="789835"/>
                </a:cubicBezTo>
                <a:cubicBezTo>
                  <a:pt x="327637" y="789835"/>
                  <a:pt x="325151" y="789835"/>
                  <a:pt x="322663" y="788593"/>
                </a:cubicBezTo>
                <a:cubicBezTo>
                  <a:pt x="318933" y="788593"/>
                  <a:pt x="313957" y="788593"/>
                  <a:pt x="308983" y="788593"/>
                </a:cubicBezTo>
                <a:cubicBezTo>
                  <a:pt x="306497" y="788593"/>
                  <a:pt x="305253" y="788593"/>
                  <a:pt x="304009" y="788593"/>
                </a:cubicBezTo>
                <a:cubicBezTo>
                  <a:pt x="296547" y="787351"/>
                  <a:pt x="289087" y="786108"/>
                  <a:pt x="281625" y="784866"/>
                </a:cubicBezTo>
                <a:lnTo>
                  <a:pt x="272919" y="784866"/>
                </a:lnTo>
                <a:lnTo>
                  <a:pt x="272919" y="783624"/>
                </a:lnTo>
                <a:cubicBezTo>
                  <a:pt x="183383" y="769959"/>
                  <a:pt x="97575" y="731451"/>
                  <a:pt x="27935" y="673066"/>
                </a:cubicBezTo>
                <a:cubicBezTo>
                  <a:pt x="5551" y="655675"/>
                  <a:pt x="-4397" y="625862"/>
                  <a:pt x="1821" y="598533"/>
                </a:cubicBezTo>
                <a:lnTo>
                  <a:pt x="22961" y="506609"/>
                </a:lnTo>
                <a:cubicBezTo>
                  <a:pt x="57781" y="379902"/>
                  <a:pt x="80165" y="356300"/>
                  <a:pt x="160999" y="356300"/>
                </a:cubicBezTo>
                <a:close/>
                <a:moveTo>
                  <a:pt x="398407" y="100519"/>
                </a:moveTo>
                <a:cubicBezTo>
                  <a:pt x="343805" y="138990"/>
                  <a:pt x="281755" y="146436"/>
                  <a:pt x="242045" y="146436"/>
                </a:cubicBezTo>
                <a:cubicBezTo>
                  <a:pt x="227153" y="146436"/>
                  <a:pt x="215983" y="146436"/>
                  <a:pt x="208537" y="145195"/>
                </a:cubicBezTo>
                <a:cubicBezTo>
                  <a:pt x="207297" y="150159"/>
                  <a:pt x="207297" y="155123"/>
                  <a:pt x="207297" y="161327"/>
                </a:cubicBezTo>
                <a:cubicBezTo>
                  <a:pt x="207297" y="238268"/>
                  <a:pt x="270587" y="300317"/>
                  <a:pt x="347527" y="300317"/>
                </a:cubicBezTo>
                <a:cubicBezTo>
                  <a:pt x="421987" y="300317"/>
                  <a:pt x="482795" y="243232"/>
                  <a:pt x="486517" y="171255"/>
                </a:cubicBezTo>
                <a:cubicBezTo>
                  <a:pt x="435637" y="165050"/>
                  <a:pt x="408335" y="122857"/>
                  <a:pt x="398407" y="100519"/>
                </a:cubicBezTo>
                <a:close/>
                <a:moveTo>
                  <a:pt x="443083" y="58326"/>
                </a:moveTo>
                <a:cubicBezTo>
                  <a:pt x="434397" y="69495"/>
                  <a:pt x="425709" y="79423"/>
                  <a:pt x="415781" y="86869"/>
                </a:cubicBezTo>
                <a:cubicBezTo>
                  <a:pt x="421987" y="103001"/>
                  <a:pt x="441843" y="143954"/>
                  <a:pt x="486517" y="148918"/>
                </a:cubicBezTo>
                <a:cubicBezTo>
                  <a:pt x="484035" y="114170"/>
                  <a:pt x="467903" y="81905"/>
                  <a:pt x="443083" y="58326"/>
                </a:cubicBezTo>
                <a:close/>
                <a:moveTo>
                  <a:pt x="347527" y="19856"/>
                </a:moveTo>
                <a:cubicBezTo>
                  <a:pt x="282997" y="19856"/>
                  <a:pt x="228393" y="64531"/>
                  <a:pt x="212261" y="124098"/>
                </a:cubicBezTo>
                <a:cubicBezTo>
                  <a:pt x="247009" y="127821"/>
                  <a:pt x="357455" y="131544"/>
                  <a:pt x="426951" y="45916"/>
                </a:cubicBezTo>
                <a:cubicBezTo>
                  <a:pt x="404613" y="29784"/>
                  <a:pt x="376071" y="19856"/>
                  <a:pt x="347527" y="19856"/>
                </a:cubicBezTo>
                <a:close/>
                <a:moveTo>
                  <a:pt x="347527" y="0"/>
                </a:moveTo>
                <a:cubicBezTo>
                  <a:pt x="435637" y="0"/>
                  <a:pt x="507615" y="71977"/>
                  <a:pt x="507615" y="161327"/>
                </a:cubicBezTo>
                <a:cubicBezTo>
                  <a:pt x="507615" y="249437"/>
                  <a:pt x="435637" y="321414"/>
                  <a:pt x="347527" y="321414"/>
                </a:cubicBezTo>
                <a:cubicBezTo>
                  <a:pt x="258177" y="321414"/>
                  <a:pt x="186199" y="249437"/>
                  <a:pt x="186199" y="161327"/>
                </a:cubicBezTo>
                <a:cubicBezTo>
                  <a:pt x="186199" y="71977"/>
                  <a:pt x="258177" y="0"/>
                  <a:pt x="347527" y="0"/>
                </a:cubicBezTo>
                <a:close/>
              </a:path>
            </a:pathLst>
          </a:custGeom>
          <a:solidFill>
            <a:schemeClr val="accent4"/>
          </a:solidFill>
          <a:ln cap="flat">
            <a:noFill/>
            <a:prstDash val="solid"/>
          </a:ln>
        </p:spPr>
        <p:txBody>
          <a:bodyPr vert="horz" wrap="square" lIns="45000" tIns="22500" rIns="45000" bIns="22500" anchor="ctr" anchorCtr="1" compatLnSpc="0">
            <a:noAutofit/>
          </a:bodyPr>
          <a:lstStyle/>
          <a:p>
            <a:pPr hangingPunct="0"/>
            <a:endParaRPr lang="en-US" sz="900">
              <a:latin typeface="Poppins" panose="00000500000000000000" pitchFamily="2" charset="0"/>
              <a:ea typeface="Microsoft YaHei" pitchFamily="2"/>
              <a:cs typeface="Lucida Sans" pitchFamily="2"/>
            </a:endParaRPr>
          </a:p>
        </p:txBody>
      </p:sp>
      <p:sp>
        <p:nvSpPr>
          <p:cNvPr id="96" name="Freeform: Shape 95">
            <a:extLst>
              <a:ext uri="{FF2B5EF4-FFF2-40B4-BE49-F238E27FC236}">
                <a16:creationId xmlns:a16="http://schemas.microsoft.com/office/drawing/2014/main" id="{082FA863-A41A-4764-BB90-B23FEBD28C5E}"/>
              </a:ext>
            </a:extLst>
          </p:cNvPr>
          <p:cNvSpPr/>
          <p:nvPr/>
        </p:nvSpPr>
        <p:spPr>
          <a:xfrm>
            <a:off x="10081292" y="2368272"/>
            <a:ext cx="356296" cy="356920"/>
          </a:xfrm>
          <a:custGeom>
            <a:avLst/>
            <a:gdLst>
              <a:gd name="connsiteX0" fmla="*/ 251210 w 712592"/>
              <a:gd name="connsiteY0" fmla="*/ 429050 h 713839"/>
              <a:gd name="connsiteX1" fmla="*/ 189028 w 712592"/>
              <a:gd name="connsiteY1" fmla="*/ 502424 h 713839"/>
              <a:gd name="connsiteX2" fmla="*/ 161670 w 712592"/>
              <a:gd name="connsiteY2" fmla="*/ 621811 h 713839"/>
              <a:gd name="connsiteX3" fmla="*/ 162912 w 712592"/>
              <a:gd name="connsiteY3" fmla="*/ 625542 h 713839"/>
              <a:gd name="connsiteX4" fmla="*/ 240018 w 712592"/>
              <a:gd name="connsiteY4" fmla="*/ 670312 h 713839"/>
              <a:gd name="connsiteX5" fmla="*/ 240018 w 712592"/>
              <a:gd name="connsiteY5" fmla="*/ 524809 h 713839"/>
              <a:gd name="connsiteX6" fmla="*/ 251210 w 712592"/>
              <a:gd name="connsiteY6" fmla="*/ 513616 h 713839"/>
              <a:gd name="connsiteX7" fmla="*/ 261158 w 712592"/>
              <a:gd name="connsiteY7" fmla="*/ 524809 h 713839"/>
              <a:gd name="connsiteX8" fmla="*/ 261158 w 712592"/>
              <a:gd name="connsiteY8" fmla="*/ 677774 h 713839"/>
              <a:gd name="connsiteX9" fmla="*/ 274838 w 712592"/>
              <a:gd name="connsiteY9" fmla="*/ 682748 h 713839"/>
              <a:gd name="connsiteX10" fmla="*/ 355674 w 712592"/>
              <a:gd name="connsiteY10" fmla="*/ 691454 h 713839"/>
              <a:gd name="connsiteX11" fmla="*/ 438996 w 712592"/>
              <a:gd name="connsiteY11" fmla="*/ 682748 h 713839"/>
              <a:gd name="connsiteX12" fmla="*/ 452676 w 712592"/>
              <a:gd name="connsiteY12" fmla="*/ 677774 h 713839"/>
              <a:gd name="connsiteX13" fmla="*/ 452676 w 712592"/>
              <a:gd name="connsiteY13" fmla="*/ 524809 h 713839"/>
              <a:gd name="connsiteX14" fmla="*/ 462624 w 712592"/>
              <a:gd name="connsiteY14" fmla="*/ 513616 h 713839"/>
              <a:gd name="connsiteX15" fmla="*/ 473818 w 712592"/>
              <a:gd name="connsiteY15" fmla="*/ 524809 h 713839"/>
              <a:gd name="connsiteX16" fmla="*/ 473818 w 712592"/>
              <a:gd name="connsiteY16" fmla="*/ 670312 h 713839"/>
              <a:gd name="connsiteX17" fmla="*/ 549678 w 712592"/>
              <a:gd name="connsiteY17" fmla="*/ 625542 h 713839"/>
              <a:gd name="connsiteX18" fmla="*/ 550922 w 712592"/>
              <a:gd name="connsiteY18" fmla="*/ 621811 h 713839"/>
              <a:gd name="connsiteX19" fmla="*/ 523562 w 712592"/>
              <a:gd name="connsiteY19" fmla="*/ 501180 h 713839"/>
              <a:gd name="connsiteX20" fmla="*/ 462624 w 712592"/>
              <a:gd name="connsiteY20" fmla="*/ 429050 h 713839"/>
              <a:gd name="connsiteX21" fmla="*/ 554652 w 712592"/>
              <a:gd name="connsiteY21" fmla="*/ 368112 h 713839"/>
              <a:gd name="connsiteX22" fmla="*/ 538486 w 712592"/>
              <a:gd name="connsiteY22" fmla="*/ 470089 h 713839"/>
              <a:gd name="connsiteX23" fmla="*/ 537242 w 712592"/>
              <a:gd name="connsiteY23" fmla="*/ 472577 h 713839"/>
              <a:gd name="connsiteX24" fmla="*/ 544704 w 712592"/>
              <a:gd name="connsiteY24" fmla="*/ 496205 h 713839"/>
              <a:gd name="connsiteX25" fmla="*/ 570820 w 712592"/>
              <a:gd name="connsiteY25" fmla="*/ 614349 h 713839"/>
              <a:gd name="connsiteX26" fmla="*/ 691450 w 712592"/>
              <a:gd name="connsiteY26" fmla="*/ 368112 h 713839"/>
              <a:gd name="connsiteX27" fmla="*/ 21140 w 712592"/>
              <a:gd name="connsiteY27" fmla="*/ 368112 h 713839"/>
              <a:gd name="connsiteX28" fmla="*/ 141772 w 712592"/>
              <a:gd name="connsiteY28" fmla="*/ 614349 h 713839"/>
              <a:gd name="connsiteX29" fmla="*/ 167888 w 712592"/>
              <a:gd name="connsiteY29" fmla="*/ 496205 h 713839"/>
              <a:gd name="connsiteX30" fmla="*/ 176592 w 712592"/>
              <a:gd name="connsiteY30" fmla="*/ 473820 h 713839"/>
              <a:gd name="connsiteX31" fmla="*/ 175350 w 712592"/>
              <a:gd name="connsiteY31" fmla="*/ 472577 h 713839"/>
              <a:gd name="connsiteX32" fmla="*/ 159182 w 712592"/>
              <a:gd name="connsiteY32" fmla="*/ 368112 h 713839"/>
              <a:gd name="connsiteX33" fmla="*/ 207684 w 712592"/>
              <a:gd name="connsiteY33" fmla="*/ 208929 h 713839"/>
              <a:gd name="connsiteX34" fmla="*/ 180324 w 712592"/>
              <a:gd name="connsiteY34" fmla="*/ 345727 h 713839"/>
              <a:gd name="connsiteX35" fmla="*/ 237530 w 712592"/>
              <a:gd name="connsiteY35" fmla="*/ 345727 h 713839"/>
              <a:gd name="connsiteX36" fmla="*/ 247478 w 712592"/>
              <a:gd name="connsiteY36" fmla="*/ 356920 h 713839"/>
              <a:gd name="connsiteX37" fmla="*/ 237530 w 712592"/>
              <a:gd name="connsiteY37" fmla="*/ 368112 h 713839"/>
              <a:gd name="connsiteX38" fmla="*/ 180324 w 712592"/>
              <a:gd name="connsiteY38" fmla="*/ 368112 h 713839"/>
              <a:gd name="connsiteX39" fmla="*/ 189028 w 712592"/>
              <a:gd name="connsiteY39" fmla="*/ 441486 h 713839"/>
              <a:gd name="connsiteX40" fmla="*/ 251210 w 712592"/>
              <a:gd name="connsiteY40" fmla="*/ 407908 h 713839"/>
              <a:gd name="connsiteX41" fmla="*/ 462624 w 712592"/>
              <a:gd name="connsiteY41" fmla="*/ 407908 h 713839"/>
              <a:gd name="connsiteX42" fmla="*/ 524806 w 712592"/>
              <a:gd name="connsiteY42" fmla="*/ 441486 h 713839"/>
              <a:gd name="connsiteX43" fmla="*/ 532268 w 712592"/>
              <a:gd name="connsiteY43" fmla="*/ 368112 h 713839"/>
              <a:gd name="connsiteX44" fmla="*/ 480036 w 712592"/>
              <a:gd name="connsiteY44" fmla="*/ 368112 h 713839"/>
              <a:gd name="connsiteX45" fmla="*/ 468842 w 712592"/>
              <a:gd name="connsiteY45" fmla="*/ 356920 h 713839"/>
              <a:gd name="connsiteX46" fmla="*/ 480036 w 712592"/>
              <a:gd name="connsiteY46" fmla="*/ 345727 h 713839"/>
              <a:gd name="connsiteX47" fmla="*/ 532268 w 712592"/>
              <a:gd name="connsiteY47" fmla="*/ 345727 h 713839"/>
              <a:gd name="connsiteX48" fmla="*/ 504908 w 712592"/>
              <a:gd name="connsiteY48" fmla="*/ 208929 h 713839"/>
              <a:gd name="connsiteX49" fmla="*/ 436508 w 712592"/>
              <a:gd name="connsiteY49" fmla="*/ 218878 h 713839"/>
              <a:gd name="connsiteX50" fmla="*/ 450188 w 712592"/>
              <a:gd name="connsiteY50" fmla="*/ 266135 h 713839"/>
              <a:gd name="connsiteX51" fmla="*/ 355674 w 712592"/>
              <a:gd name="connsiteY51" fmla="*/ 361894 h 713839"/>
              <a:gd name="connsiteX52" fmla="*/ 261158 w 712592"/>
              <a:gd name="connsiteY52" fmla="*/ 266135 h 713839"/>
              <a:gd name="connsiteX53" fmla="*/ 274838 w 712592"/>
              <a:gd name="connsiteY53" fmla="*/ 217634 h 713839"/>
              <a:gd name="connsiteX54" fmla="*/ 207684 w 712592"/>
              <a:gd name="connsiteY54" fmla="*/ 208929 h 713839"/>
              <a:gd name="connsiteX55" fmla="*/ 355674 w 712592"/>
              <a:gd name="connsiteY55" fmla="*/ 192762 h 713839"/>
              <a:gd name="connsiteX56" fmla="*/ 281056 w 712592"/>
              <a:gd name="connsiteY56" fmla="*/ 266135 h 713839"/>
              <a:gd name="connsiteX57" fmla="*/ 355674 w 712592"/>
              <a:gd name="connsiteY57" fmla="*/ 340753 h 713839"/>
              <a:gd name="connsiteX58" fmla="*/ 429048 w 712592"/>
              <a:gd name="connsiteY58" fmla="*/ 266135 h 713839"/>
              <a:gd name="connsiteX59" fmla="*/ 355674 w 712592"/>
              <a:gd name="connsiteY59" fmla="*/ 192762 h 713839"/>
              <a:gd name="connsiteX60" fmla="*/ 636732 w 712592"/>
              <a:gd name="connsiteY60" fmla="*/ 170376 h 713839"/>
              <a:gd name="connsiteX61" fmla="*/ 526050 w 712592"/>
              <a:gd name="connsiteY61" fmla="*/ 205198 h 713839"/>
              <a:gd name="connsiteX62" fmla="*/ 554652 w 712592"/>
              <a:gd name="connsiteY62" fmla="*/ 345727 h 713839"/>
              <a:gd name="connsiteX63" fmla="*/ 691450 w 712592"/>
              <a:gd name="connsiteY63" fmla="*/ 345727 h 713839"/>
              <a:gd name="connsiteX64" fmla="*/ 675126 w 712592"/>
              <a:gd name="connsiteY64" fmla="*/ 252922 h 713839"/>
              <a:gd name="connsiteX65" fmla="*/ 635650 w 712592"/>
              <a:gd name="connsiteY65" fmla="*/ 170717 h 713839"/>
              <a:gd name="connsiteX66" fmla="*/ 77104 w 712592"/>
              <a:gd name="connsiteY66" fmla="*/ 170376 h 713839"/>
              <a:gd name="connsiteX67" fmla="*/ 21140 w 712592"/>
              <a:gd name="connsiteY67" fmla="*/ 345727 h 713839"/>
              <a:gd name="connsiteX68" fmla="*/ 159182 w 712592"/>
              <a:gd name="connsiteY68" fmla="*/ 345727 h 713839"/>
              <a:gd name="connsiteX69" fmla="*/ 187786 w 712592"/>
              <a:gd name="connsiteY69" fmla="*/ 205198 h 713839"/>
              <a:gd name="connsiteX70" fmla="*/ 77104 w 712592"/>
              <a:gd name="connsiteY70" fmla="*/ 170376 h 713839"/>
              <a:gd name="connsiteX71" fmla="*/ 366866 w 712592"/>
              <a:gd name="connsiteY71" fmla="*/ 31091 h 713839"/>
              <a:gd name="connsiteX72" fmla="*/ 366866 w 712592"/>
              <a:gd name="connsiteY72" fmla="*/ 172864 h 713839"/>
              <a:gd name="connsiteX73" fmla="*/ 421586 w 712592"/>
              <a:gd name="connsiteY73" fmla="*/ 198980 h 713839"/>
              <a:gd name="connsiteX74" fmla="*/ 496202 w 712592"/>
              <a:gd name="connsiteY74" fmla="*/ 189031 h 713839"/>
              <a:gd name="connsiteX75" fmla="*/ 366866 w 712592"/>
              <a:gd name="connsiteY75" fmla="*/ 31091 h 713839"/>
              <a:gd name="connsiteX76" fmla="*/ 346968 w 712592"/>
              <a:gd name="connsiteY76" fmla="*/ 31091 h 713839"/>
              <a:gd name="connsiteX77" fmla="*/ 216388 w 712592"/>
              <a:gd name="connsiteY77" fmla="*/ 189031 h 713839"/>
              <a:gd name="connsiteX78" fmla="*/ 289762 w 712592"/>
              <a:gd name="connsiteY78" fmla="*/ 198980 h 713839"/>
              <a:gd name="connsiteX79" fmla="*/ 346968 w 712592"/>
              <a:gd name="connsiteY79" fmla="*/ 171620 h 713839"/>
              <a:gd name="connsiteX80" fmla="*/ 391738 w 712592"/>
              <a:gd name="connsiteY80" fmla="*/ 22385 h 713839"/>
              <a:gd name="connsiteX81" fmla="*/ 517344 w 712592"/>
              <a:gd name="connsiteY81" fmla="*/ 185300 h 713839"/>
              <a:gd name="connsiteX82" fmla="*/ 623052 w 712592"/>
              <a:gd name="connsiteY82" fmla="*/ 154209 h 713839"/>
              <a:gd name="connsiteX83" fmla="*/ 618078 w 712592"/>
              <a:gd name="connsiteY83" fmla="*/ 146748 h 713839"/>
              <a:gd name="connsiteX84" fmla="*/ 614346 w 712592"/>
              <a:gd name="connsiteY84" fmla="*/ 141773 h 713839"/>
              <a:gd name="connsiteX85" fmla="*/ 606884 w 712592"/>
              <a:gd name="connsiteY85" fmla="*/ 134311 h 713839"/>
              <a:gd name="connsiteX86" fmla="*/ 603154 w 712592"/>
              <a:gd name="connsiteY86" fmla="*/ 128093 h 713839"/>
              <a:gd name="connsiteX87" fmla="*/ 595692 w 712592"/>
              <a:gd name="connsiteY87" fmla="*/ 120632 h 713839"/>
              <a:gd name="connsiteX88" fmla="*/ 589474 w 712592"/>
              <a:gd name="connsiteY88" fmla="*/ 116901 h 713839"/>
              <a:gd name="connsiteX89" fmla="*/ 582012 w 712592"/>
              <a:gd name="connsiteY89" fmla="*/ 108195 h 713839"/>
              <a:gd name="connsiteX90" fmla="*/ 575794 w 712592"/>
              <a:gd name="connsiteY90" fmla="*/ 103221 h 713839"/>
              <a:gd name="connsiteX91" fmla="*/ 565846 w 712592"/>
              <a:gd name="connsiteY91" fmla="*/ 94516 h 713839"/>
              <a:gd name="connsiteX92" fmla="*/ 555896 w 712592"/>
              <a:gd name="connsiteY92" fmla="*/ 87054 h 713839"/>
              <a:gd name="connsiteX93" fmla="*/ 550922 w 712592"/>
              <a:gd name="connsiteY93" fmla="*/ 83323 h 713839"/>
              <a:gd name="connsiteX94" fmla="*/ 540972 w 712592"/>
              <a:gd name="connsiteY94" fmla="*/ 75861 h 713839"/>
              <a:gd name="connsiteX95" fmla="*/ 537242 w 712592"/>
              <a:gd name="connsiteY95" fmla="*/ 73374 h 713839"/>
              <a:gd name="connsiteX96" fmla="*/ 524806 w 712592"/>
              <a:gd name="connsiteY96" fmla="*/ 65912 h 713839"/>
              <a:gd name="connsiteX97" fmla="*/ 521074 w 712592"/>
              <a:gd name="connsiteY97" fmla="*/ 64669 h 713839"/>
              <a:gd name="connsiteX98" fmla="*/ 504908 w 712592"/>
              <a:gd name="connsiteY98" fmla="*/ 55963 h 713839"/>
              <a:gd name="connsiteX99" fmla="*/ 434022 w 712592"/>
              <a:gd name="connsiteY99" fmla="*/ 31091 h 713839"/>
              <a:gd name="connsiteX100" fmla="*/ 432778 w 712592"/>
              <a:gd name="connsiteY100" fmla="*/ 29847 h 713839"/>
              <a:gd name="connsiteX101" fmla="*/ 416610 w 712592"/>
              <a:gd name="connsiteY101" fmla="*/ 26116 h 713839"/>
              <a:gd name="connsiteX102" fmla="*/ 412880 w 712592"/>
              <a:gd name="connsiteY102" fmla="*/ 26116 h 713839"/>
              <a:gd name="connsiteX103" fmla="*/ 399200 w 712592"/>
              <a:gd name="connsiteY103" fmla="*/ 23629 h 713839"/>
              <a:gd name="connsiteX104" fmla="*/ 394226 w 712592"/>
              <a:gd name="connsiteY104" fmla="*/ 23629 h 713839"/>
              <a:gd name="connsiteX105" fmla="*/ 391738 w 712592"/>
              <a:gd name="connsiteY105" fmla="*/ 22385 h 713839"/>
              <a:gd name="connsiteX106" fmla="*/ 320852 w 712592"/>
              <a:gd name="connsiteY106" fmla="*/ 22385 h 713839"/>
              <a:gd name="connsiteX107" fmla="*/ 319608 w 712592"/>
              <a:gd name="connsiteY107" fmla="*/ 23629 h 713839"/>
              <a:gd name="connsiteX108" fmla="*/ 314634 w 712592"/>
              <a:gd name="connsiteY108" fmla="*/ 23629 h 713839"/>
              <a:gd name="connsiteX109" fmla="*/ 299710 w 712592"/>
              <a:gd name="connsiteY109" fmla="*/ 26116 h 713839"/>
              <a:gd name="connsiteX110" fmla="*/ 295980 w 712592"/>
              <a:gd name="connsiteY110" fmla="*/ 26116 h 713839"/>
              <a:gd name="connsiteX111" fmla="*/ 281056 w 712592"/>
              <a:gd name="connsiteY111" fmla="*/ 29847 h 713839"/>
              <a:gd name="connsiteX112" fmla="*/ 278570 w 712592"/>
              <a:gd name="connsiteY112" fmla="*/ 31091 h 713839"/>
              <a:gd name="connsiteX113" fmla="*/ 207684 w 712592"/>
              <a:gd name="connsiteY113" fmla="*/ 55963 h 713839"/>
              <a:gd name="connsiteX114" fmla="*/ 191516 w 712592"/>
              <a:gd name="connsiteY114" fmla="*/ 64669 h 713839"/>
              <a:gd name="connsiteX115" fmla="*/ 189028 w 712592"/>
              <a:gd name="connsiteY115" fmla="*/ 65912 h 713839"/>
              <a:gd name="connsiteX116" fmla="*/ 176592 w 712592"/>
              <a:gd name="connsiteY116" fmla="*/ 73374 h 713839"/>
              <a:gd name="connsiteX117" fmla="*/ 172862 w 712592"/>
              <a:gd name="connsiteY117" fmla="*/ 75861 h 713839"/>
              <a:gd name="connsiteX118" fmla="*/ 161670 w 712592"/>
              <a:gd name="connsiteY118" fmla="*/ 83323 h 713839"/>
              <a:gd name="connsiteX119" fmla="*/ 156694 w 712592"/>
              <a:gd name="connsiteY119" fmla="*/ 87054 h 713839"/>
              <a:gd name="connsiteX120" fmla="*/ 146746 w 712592"/>
              <a:gd name="connsiteY120" fmla="*/ 95759 h 713839"/>
              <a:gd name="connsiteX121" fmla="*/ 138040 w 712592"/>
              <a:gd name="connsiteY121" fmla="*/ 103221 h 713839"/>
              <a:gd name="connsiteX122" fmla="*/ 130578 w 712592"/>
              <a:gd name="connsiteY122" fmla="*/ 108195 h 713839"/>
              <a:gd name="connsiteX123" fmla="*/ 123118 w 712592"/>
              <a:gd name="connsiteY123" fmla="*/ 116901 h 713839"/>
              <a:gd name="connsiteX124" fmla="*/ 118142 w 712592"/>
              <a:gd name="connsiteY124" fmla="*/ 120632 h 713839"/>
              <a:gd name="connsiteX125" fmla="*/ 110680 w 712592"/>
              <a:gd name="connsiteY125" fmla="*/ 128093 h 713839"/>
              <a:gd name="connsiteX126" fmla="*/ 105706 w 712592"/>
              <a:gd name="connsiteY126" fmla="*/ 134311 h 713839"/>
              <a:gd name="connsiteX127" fmla="*/ 99488 w 712592"/>
              <a:gd name="connsiteY127" fmla="*/ 141773 h 713839"/>
              <a:gd name="connsiteX128" fmla="*/ 94514 w 712592"/>
              <a:gd name="connsiteY128" fmla="*/ 146748 h 713839"/>
              <a:gd name="connsiteX129" fmla="*/ 89540 w 712592"/>
              <a:gd name="connsiteY129" fmla="*/ 154209 h 713839"/>
              <a:gd name="connsiteX130" fmla="*/ 196490 w 712592"/>
              <a:gd name="connsiteY130" fmla="*/ 185300 h 713839"/>
              <a:gd name="connsiteX131" fmla="*/ 320852 w 712592"/>
              <a:gd name="connsiteY131" fmla="*/ 22385 h 713839"/>
              <a:gd name="connsiteX132" fmla="*/ 355674 w 712592"/>
              <a:gd name="connsiteY132" fmla="*/ 0 h 713839"/>
              <a:gd name="connsiteX133" fmla="*/ 356918 w 712592"/>
              <a:gd name="connsiteY133" fmla="*/ 0 h 713839"/>
              <a:gd name="connsiteX134" fmla="*/ 376816 w 712592"/>
              <a:gd name="connsiteY134" fmla="*/ 1244 h 713839"/>
              <a:gd name="connsiteX135" fmla="*/ 381790 w 712592"/>
              <a:gd name="connsiteY135" fmla="*/ 1244 h 713839"/>
              <a:gd name="connsiteX136" fmla="*/ 397956 w 712592"/>
              <a:gd name="connsiteY136" fmla="*/ 2487 h 713839"/>
              <a:gd name="connsiteX137" fmla="*/ 402932 w 712592"/>
              <a:gd name="connsiteY137" fmla="*/ 3731 h 713839"/>
              <a:gd name="connsiteX138" fmla="*/ 419098 w 712592"/>
              <a:gd name="connsiteY138" fmla="*/ 6218 h 713839"/>
              <a:gd name="connsiteX139" fmla="*/ 422830 w 712592"/>
              <a:gd name="connsiteY139" fmla="*/ 6218 h 713839"/>
              <a:gd name="connsiteX140" fmla="*/ 501176 w 712592"/>
              <a:gd name="connsiteY140" fmla="*/ 31091 h 713839"/>
              <a:gd name="connsiteX141" fmla="*/ 502420 w 712592"/>
              <a:gd name="connsiteY141" fmla="*/ 32334 h 713839"/>
              <a:gd name="connsiteX142" fmla="*/ 519832 w 712592"/>
              <a:gd name="connsiteY142" fmla="*/ 39796 h 713839"/>
              <a:gd name="connsiteX143" fmla="*/ 522318 w 712592"/>
              <a:gd name="connsiteY143" fmla="*/ 41040 h 713839"/>
              <a:gd name="connsiteX144" fmla="*/ 538486 w 712592"/>
              <a:gd name="connsiteY144" fmla="*/ 50989 h 713839"/>
              <a:gd name="connsiteX145" fmla="*/ 539730 w 712592"/>
              <a:gd name="connsiteY145" fmla="*/ 50989 h 713839"/>
              <a:gd name="connsiteX146" fmla="*/ 557140 w 712592"/>
              <a:gd name="connsiteY146" fmla="*/ 62181 h 713839"/>
              <a:gd name="connsiteX147" fmla="*/ 560870 w 712592"/>
              <a:gd name="connsiteY147" fmla="*/ 64669 h 713839"/>
              <a:gd name="connsiteX148" fmla="*/ 572064 w 712592"/>
              <a:gd name="connsiteY148" fmla="*/ 73374 h 713839"/>
              <a:gd name="connsiteX149" fmla="*/ 578282 w 712592"/>
              <a:gd name="connsiteY149" fmla="*/ 78348 h 713839"/>
              <a:gd name="connsiteX150" fmla="*/ 586986 w 712592"/>
              <a:gd name="connsiteY150" fmla="*/ 84567 h 713839"/>
              <a:gd name="connsiteX151" fmla="*/ 594448 w 712592"/>
              <a:gd name="connsiteY151" fmla="*/ 90785 h 713839"/>
              <a:gd name="connsiteX152" fmla="*/ 600666 w 712592"/>
              <a:gd name="connsiteY152" fmla="*/ 97003 h 713839"/>
              <a:gd name="connsiteX153" fmla="*/ 608128 w 712592"/>
              <a:gd name="connsiteY153" fmla="*/ 104464 h 713839"/>
              <a:gd name="connsiteX154" fmla="*/ 611858 w 712592"/>
              <a:gd name="connsiteY154" fmla="*/ 108195 h 713839"/>
              <a:gd name="connsiteX155" fmla="*/ 628026 w 712592"/>
              <a:gd name="connsiteY155" fmla="*/ 125606 h 713839"/>
              <a:gd name="connsiteX156" fmla="*/ 633000 w 712592"/>
              <a:gd name="connsiteY156" fmla="*/ 131824 h 713839"/>
              <a:gd name="connsiteX157" fmla="*/ 639218 w 712592"/>
              <a:gd name="connsiteY157" fmla="*/ 140530 h 713839"/>
              <a:gd name="connsiteX158" fmla="*/ 644192 w 712592"/>
              <a:gd name="connsiteY158" fmla="*/ 147991 h 713839"/>
              <a:gd name="connsiteX159" fmla="*/ 647924 w 712592"/>
              <a:gd name="connsiteY159" fmla="*/ 151722 h 713839"/>
              <a:gd name="connsiteX160" fmla="*/ 655386 w 712592"/>
              <a:gd name="connsiteY160" fmla="*/ 162915 h 713839"/>
              <a:gd name="connsiteX161" fmla="*/ 712592 w 712592"/>
              <a:gd name="connsiteY161" fmla="*/ 356920 h 713839"/>
              <a:gd name="connsiteX162" fmla="*/ 445214 w 712592"/>
              <a:gd name="connsiteY162" fmla="*/ 702646 h 713839"/>
              <a:gd name="connsiteX163" fmla="*/ 355674 w 712592"/>
              <a:gd name="connsiteY163" fmla="*/ 713839 h 713839"/>
              <a:gd name="connsiteX164" fmla="*/ 268620 w 712592"/>
              <a:gd name="connsiteY164" fmla="*/ 702646 h 713839"/>
              <a:gd name="connsiteX165" fmla="*/ 0 w 712592"/>
              <a:gd name="connsiteY165" fmla="*/ 356920 h 713839"/>
              <a:gd name="connsiteX166" fmla="*/ 57206 w 712592"/>
              <a:gd name="connsiteY166" fmla="*/ 162915 h 713839"/>
              <a:gd name="connsiteX167" fmla="*/ 64668 w 712592"/>
              <a:gd name="connsiteY167" fmla="*/ 151722 h 713839"/>
              <a:gd name="connsiteX168" fmla="*/ 68398 w 712592"/>
              <a:gd name="connsiteY168" fmla="*/ 146748 h 713839"/>
              <a:gd name="connsiteX169" fmla="*/ 73372 w 712592"/>
              <a:gd name="connsiteY169" fmla="*/ 140530 h 713839"/>
              <a:gd name="connsiteX170" fmla="*/ 80834 w 712592"/>
              <a:gd name="connsiteY170" fmla="*/ 131824 h 713839"/>
              <a:gd name="connsiteX171" fmla="*/ 85808 w 712592"/>
              <a:gd name="connsiteY171" fmla="*/ 125606 h 713839"/>
              <a:gd name="connsiteX172" fmla="*/ 101976 w 712592"/>
              <a:gd name="connsiteY172" fmla="*/ 108195 h 713839"/>
              <a:gd name="connsiteX173" fmla="*/ 104462 w 712592"/>
              <a:gd name="connsiteY173" fmla="*/ 104464 h 713839"/>
              <a:gd name="connsiteX174" fmla="*/ 111924 w 712592"/>
              <a:gd name="connsiteY174" fmla="*/ 97003 h 713839"/>
              <a:gd name="connsiteX175" fmla="*/ 119386 w 712592"/>
              <a:gd name="connsiteY175" fmla="*/ 90785 h 713839"/>
              <a:gd name="connsiteX176" fmla="*/ 126848 w 712592"/>
              <a:gd name="connsiteY176" fmla="*/ 84567 h 713839"/>
              <a:gd name="connsiteX177" fmla="*/ 134310 w 712592"/>
              <a:gd name="connsiteY177" fmla="*/ 78348 h 713839"/>
              <a:gd name="connsiteX178" fmla="*/ 140528 w 712592"/>
              <a:gd name="connsiteY178" fmla="*/ 73374 h 713839"/>
              <a:gd name="connsiteX179" fmla="*/ 152964 w 712592"/>
              <a:gd name="connsiteY179" fmla="*/ 64669 h 713839"/>
              <a:gd name="connsiteX180" fmla="*/ 156694 w 712592"/>
              <a:gd name="connsiteY180" fmla="*/ 62181 h 713839"/>
              <a:gd name="connsiteX181" fmla="*/ 174106 w 712592"/>
              <a:gd name="connsiteY181" fmla="*/ 50989 h 713839"/>
              <a:gd name="connsiteX182" fmla="*/ 191516 w 712592"/>
              <a:gd name="connsiteY182" fmla="*/ 41040 h 713839"/>
              <a:gd name="connsiteX183" fmla="*/ 194004 w 712592"/>
              <a:gd name="connsiteY183" fmla="*/ 39796 h 713839"/>
              <a:gd name="connsiteX184" fmla="*/ 210170 w 712592"/>
              <a:gd name="connsiteY184" fmla="*/ 32334 h 713839"/>
              <a:gd name="connsiteX185" fmla="*/ 211414 w 712592"/>
              <a:gd name="connsiteY185" fmla="*/ 31091 h 713839"/>
              <a:gd name="connsiteX186" fmla="*/ 291006 w 712592"/>
              <a:gd name="connsiteY186" fmla="*/ 6218 h 713839"/>
              <a:gd name="connsiteX187" fmla="*/ 293492 w 712592"/>
              <a:gd name="connsiteY187" fmla="*/ 6218 h 713839"/>
              <a:gd name="connsiteX188" fmla="*/ 310904 w 712592"/>
              <a:gd name="connsiteY188" fmla="*/ 3731 h 713839"/>
              <a:gd name="connsiteX189" fmla="*/ 315878 w 712592"/>
              <a:gd name="connsiteY189" fmla="*/ 2487 h 713839"/>
              <a:gd name="connsiteX190" fmla="*/ 330802 w 712592"/>
              <a:gd name="connsiteY190" fmla="*/ 1244 h 713839"/>
              <a:gd name="connsiteX191" fmla="*/ 337020 w 712592"/>
              <a:gd name="connsiteY191" fmla="*/ 1244 h 713839"/>
              <a:gd name="connsiteX192" fmla="*/ 355674 w 712592"/>
              <a:gd name="connsiteY192" fmla="*/ 0 h 713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</a:cxnLst>
            <a:rect l="l" t="t" r="r" b="b"/>
            <a:pathLst>
              <a:path w="712592" h="713839">
                <a:moveTo>
                  <a:pt x="251210" y="429050"/>
                </a:moveTo>
                <a:cubicBezTo>
                  <a:pt x="217632" y="429050"/>
                  <a:pt x="208926" y="432781"/>
                  <a:pt x="189028" y="502424"/>
                </a:cubicBezTo>
                <a:lnTo>
                  <a:pt x="161670" y="621811"/>
                </a:lnTo>
                <a:cubicBezTo>
                  <a:pt x="161670" y="623055"/>
                  <a:pt x="162912" y="624298"/>
                  <a:pt x="162912" y="625542"/>
                </a:cubicBezTo>
                <a:cubicBezTo>
                  <a:pt x="186542" y="644196"/>
                  <a:pt x="212658" y="659120"/>
                  <a:pt x="240018" y="670312"/>
                </a:cubicBezTo>
                <a:lnTo>
                  <a:pt x="240018" y="524809"/>
                </a:lnTo>
                <a:cubicBezTo>
                  <a:pt x="240018" y="518591"/>
                  <a:pt x="244992" y="513616"/>
                  <a:pt x="251210" y="513616"/>
                </a:cubicBezTo>
                <a:cubicBezTo>
                  <a:pt x="256184" y="513616"/>
                  <a:pt x="261158" y="518591"/>
                  <a:pt x="261158" y="524809"/>
                </a:cubicBezTo>
                <a:lnTo>
                  <a:pt x="261158" y="677774"/>
                </a:lnTo>
                <a:cubicBezTo>
                  <a:pt x="264890" y="679018"/>
                  <a:pt x="269864" y="680261"/>
                  <a:pt x="274838" y="682748"/>
                </a:cubicBezTo>
                <a:cubicBezTo>
                  <a:pt x="300954" y="688967"/>
                  <a:pt x="328314" y="691454"/>
                  <a:pt x="355674" y="691454"/>
                </a:cubicBezTo>
                <a:cubicBezTo>
                  <a:pt x="385520" y="691454"/>
                  <a:pt x="412880" y="688967"/>
                  <a:pt x="438996" y="682748"/>
                </a:cubicBezTo>
                <a:cubicBezTo>
                  <a:pt x="443970" y="680261"/>
                  <a:pt x="447702" y="679018"/>
                  <a:pt x="452676" y="677774"/>
                </a:cubicBezTo>
                <a:lnTo>
                  <a:pt x="452676" y="524809"/>
                </a:lnTo>
                <a:cubicBezTo>
                  <a:pt x="452676" y="518591"/>
                  <a:pt x="456406" y="513616"/>
                  <a:pt x="462624" y="513616"/>
                </a:cubicBezTo>
                <a:cubicBezTo>
                  <a:pt x="468842" y="513616"/>
                  <a:pt x="473818" y="518591"/>
                  <a:pt x="473818" y="524809"/>
                </a:cubicBezTo>
                <a:lnTo>
                  <a:pt x="473818" y="670312"/>
                </a:lnTo>
                <a:cubicBezTo>
                  <a:pt x="501176" y="659120"/>
                  <a:pt x="526050" y="644196"/>
                  <a:pt x="549678" y="625542"/>
                </a:cubicBezTo>
                <a:cubicBezTo>
                  <a:pt x="550922" y="624298"/>
                  <a:pt x="552166" y="623055"/>
                  <a:pt x="550922" y="621811"/>
                </a:cubicBezTo>
                <a:lnTo>
                  <a:pt x="523562" y="501180"/>
                </a:lnTo>
                <a:cubicBezTo>
                  <a:pt x="504908" y="432781"/>
                  <a:pt x="494958" y="429050"/>
                  <a:pt x="462624" y="429050"/>
                </a:cubicBezTo>
                <a:close/>
                <a:moveTo>
                  <a:pt x="554652" y="368112"/>
                </a:moveTo>
                <a:cubicBezTo>
                  <a:pt x="552166" y="402934"/>
                  <a:pt x="548434" y="436512"/>
                  <a:pt x="538486" y="470089"/>
                </a:cubicBezTo>
                <a:cubicBezTo>
                  <a:pt x="538486" y="471333"/>
                  <a:pt x="538486" y="472577"/>
                  <a:pt x="537242" y="472577"/>
                </a:cubicBezTo>
                <a:cubicBezTo>
                  <a:pt x="539730" y="480038"/>
                  <a:pt x="542216" y="487500"/>
                  <a:pt x="544704" y="496205"/>
                </a:cubicBezTo>
                <a:lnTo>
                  <a:pt x="570820" y="614349"/>
                </a:lnTo>
                <a:cubicBezTo>
                  <a:pt x="641706" y="554656"/>
                  <a:pt x="688964" y="466358"/>
                  <a:pt x="691450" y="368112"/>
                </a:cubicBezTo>
                <a:close/>
                <a:moveTo>
                  <a:pt x="21140" y="368112"/>
                </a:moveTo>
                <a:cubicBezTo>
                  <a:pt x="23628" y="466358"/>
                  <a:pt x="69642" y="554656"/>
                  <a:pt x="141772" y="614349"/>
                </a:cubicBezTo>
                <a:lnTo>
                  <a:pt x="167888" y="496205"/>
                </a:lnTo>
                <a:cubicBezTo>
                  <a:pt x="171618" y="488744"/>
                  <a:pt x="174106" y="481282"/>
                  <a:pt x="176592" y="473820"/>
                </a:cubicBezTo>
                <a:cubicBezTo>
                  <a:pt x="175350" y="473820"/>
                  <a:pt x="175350" y="473820"/>
                  <a:pt x="175350" y="472577"/>
                </a:cubicBezTo>
                <a:cubicBezTo>
                  <a:pt x="165400" y="438999"/>
                  <a:pt x="160426" y="402934"/>
                  <a:pt x="159182" y="368112"/>
                </a:cubicBezTo>
                <a:close/>
                <a:moveTo>
                  <a:pt x="207684" y="208929"/>
                </a:moveTo>
                <a:cubicBezTo>
                  <a:pt x="191516" y="251212"/>
                  <a:pt x="181568" y="298470"/>
                  <a:pt x="180324" y="345727"/>
                </a:cubicBezTo>
                <a:lnTo>
                  <a:pt x="237530" y="345727"/>
                </a:lnTo>
                <a:cubicBezTo>
                  <a:pt x="242504" y="345727"/>
                  <a:pt x="247478" y="350702"/>
                  <a:pt x="247478" y="356920"/>
                </a:cubicBezTo>
                <a:cubicBezTo>
                  <a:pt x="247478" y="363138"/>
                  <a:pt x="242504" y="368112"/>
                  <a:pt x="237530" y="368112"/>
                </a:cubicBezTo>
                <a:lnTo>
                  <a:pt x="180324" y="368112"/>
                </a:lnTo>
                <a:cubicBezTo>
                  <a:pt x="180324" y="391741"/>
                  <a:pt x="184054" y="416614"/>
                  <a:pt x="189028" y="441486"/>
                </a:cubicBezTo>
                <a:cubicBezTo>
                  <a:pt x="202708" y="415370"/>
                  <a:pt x="218876" y="407908"/>
                  <a:pt x="251210" y="407908"/>
                </a:cubicBezTo>
                <a:lnTo>
                  <a:pt x="462624" y="407908"/>
                </a:lnTo>
                <a:cubicBezTo>
                  <a:pt x="493716" y="407908"/>
                  <a:pt x="511126" y="415370"/>
                  <a:pt x="524806" y="441486"/>
                </a:cubicBezTo>
                <a:cubicBezTo>
                  <a:pt x="528536" y="416614"/>
                  <a:pt x="532268" y="391741"/>
                  <a:pt x="532268" y="368112"/>
                </a:cubicBezTo>
                <a:lnTo>
                  <a:pt x="480036" y="368112"/>
                </a:lnTo>
                <a:cubicBezTo>
                  <a:pt x="473818" y="368112"/>
                  <a:pt x="468842" y="363138"/>
                  <a:pt x="468842" y="356920"/>
                </a:cubicBezTo>
                <a:cubicBezTo>
                  <a:pt x="468842" y="350702"/>
                  <a:pt x="473818" y="345727"/>
                  <a:pt x="480036" y="345727"/>
                </a:cubicBezTo>
                <a:lnTo>
                  <a:pt x="532268" y="345727"/>
                </a:lnTo>
                <a:cubicBezTo>
                  <a:pt x="531024" y="298470"/>
                  <a:pt x="522318" y="251212"/>
                  <a:pt x="504908" y="208929"/>
                </a:cubicBezTo>
                <a:cubicBezTo>
                  <a:pt x="482522" y="212660"/>
                  <a:pt x="460138" y="216390"/>
                  <a:pt x="436508" y="218878"/>
                </a:cubicBezTo>
                <a:cubicBezTo>
                  <a:pt x="445214" y="232558"/>
                  <a:pt x="450188" y="248725"/>
                  <a:pt x="450188" y="266135"/>
                </a:cubicBezTo>
                <a:cubicBezTo>
                  <a:pt x="450188" y="318367"/>
                  <a:pt x="407906" y="361894"/>
                  <a:pt x="355674" y="361894"/>
                </a:cubicBezTo>
                <a:cubicBezTo>
                  <a:pt x="303442" y="361894"/>
                  <a:pt x="261158" y="318367"/>
                  <a:pt x="261158" y="266135"/>
                </a:cubicBezTo>
                <a:cubicBezTo>
                  <a:pt x="261158" y="248725"/>
                  <a:pt x="264890" y="232558"/>
                  <a:pt x="274838" y="217634"/>
                </a:cubicBezTo>
                <a:cubicBezTo>
                  <a:pt x="251210" y="215147"/>
                  <a:pt x="230068" y="212660"/>
                  <a:pt x="207684" y="208929"/>
                </a:cubicBezTo>
                <a:close/>
                <a:moveTo>
                  <a:pt x="355674" y="192762"/>
                </a:moveTo>
                <a:cubicBezTo>
                  <a:pt x="314634" y="192762"/>
                  <a:pt x="281056" y="226339"/>
                  <a:pt x="281056" y="266135"/>
                </a:cubicBezTo>
                <a:cubicBezTo>
                  <a:pt x="281056" y="307175"/>
                  <a:pt x="314634" y="340753"/>
                  <a:pt x="355674" y="340753"/>
                </a:cubicBezTo>
                <a:cubicBezTo>
                  <a:pt x="395470" y="340753"/>
                  <a:pt x="429048" y="307175"/>
                  <a:pt x="429048" y="266135"/>
                </a:cubicBezTo>
                <a:cubicBezTo>
                  <a:pt x="429048" y="226339"/>
                  <a:pt x="395470" y="192762"/>
                  <a:pt x="355674" y="192762"/>
                </a:cubicBezTo>
                <a:close/>
                <a:moveTo>
                  <a:pt x="636732" y="170376"/>
                </a:moveTo>
                <a:cubicBezTo>
                  <a:pt x="600666" y="185300"/>
                  <a:pt x="563358" y="196493"/>
                  <a:pt x="526050" y="205198"/>
                </a:cubicBezTo>
                <a:cubicBezTo>
                  <a:pt x="542216" y="248725"/>
                  <a:pt x="552166" y="297226"/>
                  <a:pt x="554652" y="345727"/>
                </a:cubicBezTo>
                <a:lnTo>
                  <a:pt x="691450" y="345727"/>
                </a:lnTo>
                <a:cubicBezTo>
                  <a:pt x="690206" y="313393"/>
                  <a:pt x="684610" y="282303"/>
                  <a:pt x="675126" y="252922"/>
                </a:cubicBezTo>
                <a:lnTo>
                  <a:pt x="635650" y="170717"/>
                </a:lnTo>
                <a:close/>
                <a:moveTo>
                  <a:pt x="77104" y="170376"/>
                </a:moveTo>
                <a:cubicBezTo>
                  <a:pt x="43526" y="221365"/>
                  <a:pt x="23628" y="281059"/>
                  <a:pt x="21140" y="345727"/>
                </a:cubicBezTo>
                <a:lnTo>
                  <a:pt x="159182" y="345727"/>
                </a:lnTo>
                <a:cubicBezTo>
                  <a:pt x="160426" y="297226"/>
                  <a:pt x="170374" y="248725"/>
                  <a:pt x="187786" y="205198"/>
                </a:cubicBezTo>
                <a:cubicBezTo>
                  <a:pt x="149234" y="196493"/>
                  <a:pt x="111924" y="185300"/>
                  <a:pt x="77104" y="170376"/>
                </a:cubicBezTo>
                <a:close/>
                <a:moveTo>
                  <a:pt x="366866" y="31091"/>
                </a:moveTo>
                <a:lnTo>
                  <a:pt x="366866" y="172864"/>
                </a:lnTo>
                <a:cubicBezTo>
                  <a:pt x="388008" y="175351"/>
                  <a:pt x="406662" y="185300"/>
                  <a:pt x="421586" y="198980"/>
                </a:cubicBezTo>
                <a:cubicBezTo>
                  <a:pt x="446458" y="196493"/>
                  <a:pt x="472574" y="192762"/>
                  <a:pt x="496202" y="189031"/>
                </a:cubicBezTo>
                <a:cubicBezTo>
                  <a:pt x="467600" y="126850"/>
                  <a:pt x="424072" y="72130"/>
                  <a:pt x="366866" y="31091"/>
                </a:cubicBezTo>
                <a:close/>
                <a:moveTo>
                  <a:pt x="346968" y="31091"/>
                </a:moveTo>
                <a:cubicBezTo>
                  <a:pt x="289762" y="72130"/>
                  <a:pt x="244992" y="126850"/>
                  <a:pt x="216388" y="189031"/>
                </a:cubicBezTo>
                <a:cubicBezTo>
                  <a:pt x="241260" y="192762"/>
                  <a:pt x="264890" y="196493"/>
                  <a:pt x="289762" y="198980"/>
                </a:cubicBezTo>
                <a:cubicBezTo>
                  <a:pt x="304686" y="184056"/>
                  <a:pt x="324584" y="174107"/>
                  <a:pt x="346968" y="171620"/>
                </a:cubicBezTo>
                <a:close/>
                <a:moveTo>
                  <a:pt x="391738" y="22385"/>
                </a:moveTo>
                <a:cubicBezTo>
                  <a:pt x="446458" y="65912"/>
                  <a:pt x="489984" y="121875"/>
                  <a:pt x="517344" y="185300"/>
                </a:cubicBezTo>
                <a:cubicBezTo>
                  <a:pt x="554652" y="176595"/>
                  <a:pt x="589474" y="166646"/>
                  <a:pt x="623052" y="154209"/>
                </a:cubicBezTo>
                <a:cubicBezTo>
                  <a:pt x="621808" y="151722"/>
                  <a:pt x="620564" y="149235"/>
                  <a:pt x="618078" y="146748"/>
                </a:cubicBezTo>
                <a:cubicBezTo>
                  <a:pt x="616834" y="145504"/>
                  <a:pt x="615590" y="144260"/>
                  <a:pt x="614346" y="141773"/>
                </a:cubicBezTo>
                <a:cubicBezTo>
                  <a:pt x="611858" y="139286"/>
                  <a:pt x="609372" y="135555"/>
                  <a:pt x="606884" y="134311"/>
                </a:cubicBezTo>
                <a:cubicBezTo>
                  <a:pt x="605640" y="133068"/>
                  <a:pt x="604398" y="130581"/>
                  <a:pt x="603154" y="128093"/>
                </a:cubicBezTo>
                <a:cubicBezTo>
                  <a:pt x="599422" y="126850"/>
                  <a:pt x="596936" y="123119"/>
                  <a:pt x="595692" y="120632"/>
                </a:cubicBezTo>
                <a:cubicBezTo>
                  <a:pt x="593204" y="119388"/>
                  <a:pt x="591962" y="118144"/>
                  <a:pt x="589474" y="116901"/>
                </a:cubicBezTo>
                <a:cubicBezTo>
                  <a:pt x="588230" y="113170"/>
                  <a:pt x="585744" y="110683"/>
                  <a:pt x="582012" y="108195"/>
                </a:cubicBezTo>
                <a:cubicBezTo>
                  <a:pt x="579524" y="106952"/>
                  <a:pt x="577038" y="104464"/>
                  <a:pt x="575794" y="103221"/>
                </a:cubicBezTo>
                <a:cubicBezTo>
                  <a:pt x="572064" y="100734"/>
                  <a:pt x="569576" y="97003"/>
                  <a:pt x="565846" y="94516"/>
                </a:cubicBezTo>
                <a:cubicBezTo>
                  <a:pt x="562114" y="92028"/>
                  <a:pt x="559628" y="89541"/>
                  <a:pt x="555896" y="87054"/>
                </a:cubicBezTo>
                <a:cubicBezTo>
                  <a:pt x="554652" y="85810"/>
                  <a:pt x="552166" y="84567"/>
                  <a:pt x="550922" y="83323"/>
                </a:cubicBezTo>
                <a:cubicBezTo>
                  <a:pt x="548434" y="82079"/>
                  <a:pt x="544704" y="78348"/>
                  <a:pt x="540972" y="75861"/>
                </a:cubicBezTo>
                <a:cubicBezTo>
                  <a:pt x="538486" y="75861"/>
                  <a:pt x="538486" y="74618"/>
                  <a:pt x="537242" y="73374"/>
                </a:cubicBezTo>
                <a:cubicBezTo>
                  <a:pt x="532268" y="70887"/>
                  <a:pt x="528536" y="68399"/>
                  <a:pt x="524806" y="65912"/>
                </a:cubicBezTo>
                <a:cubicBezTo>
                  <a:pt x="523562" y="65912"/>
                  <a:pt x="522318" y="65912"/>
                  <a:pt x="521074" y="64669"/>
                </a:cubicBezTo>
                <a:cubicBezTo>
                  <a:pt x="516100" y="62181"/>
                  <a:pt x="511126" y="58450"/>
                  <a:pt x="504908" y="55963"/>
                </a:cubicBezTo>
                <a:cubicBezTo>
                  <a:pt x="482522" y="44771"/>
                  <a:pt x="458894" y="36065"/>
                  <a:pt x="434022" y="31091"/>
                </a:cubicBezTo>
                <a:cubicBezTo>
                  <a:pt x="434022" y="31091"/>
                  <a:pt x="432778" y="31091"/>
                  <a:pt x="432778" y="29847"/>
                </a:cubicBezTo>
                <a:cubicBezTo>
                  <a:pt x="426560" y="28604"/>
                  <a:pt x="421586" y="27360"/>
                  <a:pt x="416610" y="26116"/>
                </a:cubicBezTo>
                <a:cubicBezTo>
                  <a:pt x="415368" y="26116"/>
                  <a:pt x="414124" y="26116"/>
                  <a:pt x="412880" y="26116"/>
                </a:cubicBezTo>
                <a:cubicBezTo>
                  <a:pt x="407906" y="24873"/>
                  <a:pt x="404174" y="24873"/>
                  <a:pt x="399200" y="23629"/>
                </a:cubicBezTo>
                <a:cubicBezTo>
                  <a:pt x="397956" y="23629"/>
                  <a:pt x="395470" y="23629"/>
                  <a:pt x="394226" y="23629"/>
                </a:cubicBezTo>
                <a:cubicBezTo>
                  <a:pt x="394226" y="23629"/>
                  <a:pt x="392982" y="22385"/>
                  <a:pt x="391738" y="22385"/>
                </a:cubicBezTo>
                <a:close/>
                <a:moveTo>
                  <a:pt x="320852" y="22385"/>
                </a:moveTo>
                <a:lnTo>
                  <a:pt x="319608" y="23629"/>
                </a:lnTo>
                <a:cubicBezTo>
                  <a:pt x="317122" y="23629"/>
                  <a:pt x="315878" y="23629"/>
                  <a:pt x="314634" y="23629"/>
                </a:cubicBezTo>
                <a:cubicBezTo>
                  <a:pt x="309660" y="24873"/>
                  <a:pt x="304686" y="24873"/>
                  <a:pt x="299710" y="26116"/>
                </a:cubicBezTo>
                <a:cubicBezTo>
                  <a:pt x="298468" y="26116"/>
                  <a:pt x="297224" y="26116"/>
                  <a:pt x="295980" y="26116"/>
                </a:cubicBezTo>
                <a:cubicBezTo>
                  <a:pt x="291006" y="27360"/>
                  <a:pt x="286032" y="28604"/>
                  <a:pt x="281056" y="29847"/>
                </a:cubicBezTo>
                <a:cubicBezTo>
                  <a:pt x="281056" y="31091"/>
                  <a:pt x="279812" y="31091"/>
                  <a:pt x="278570" y="31091"/>
                </a:cubicBezTo>
                <a:cubicBezTo>
                  <a:pt x="254940" y="36065"/>
                  <a:pt x="230068" y="44771"/>
                  <a:pt x="207684" y="55963"/>
                </a:cubicBezTo>
                <a:cubicBezTo>
                  <a:pt x="202708" y="58450"/>
                  <a:pt x="197734" y="62181"/>
                  <a:pt x="191516" y="64669"/>
                </a:cubicBezTo>
                <a:cubicBezTo>
                  <a:pt x="191516" y="65912"/>
                  <a:pt x="190272" y="65912"/>
                  <a:pt x="189028" y="65912"/>
                </a:cubicBezTo>
                <a:cubicBezTo>
                  <a:pt x="185298" y="68399"/>
                  <a:pt x="180324" y="70887"/>
                  <a:pt x="176592" y="73374"/>
                </a:cubicBezTo>
                <a:cubicBezTo>
                  <a:pt x="175350" y="74618"/>
                  <a:pt x="174106" y="75861"/>
                  <a:pt x="172862" y="75861"/>
                </a:cubicBezTo>
                <a:cubicBezTo>
                  <a:pt x="169132" y="78348"/>
                  <a:pt x="165400" y="82079"/>
                  <a:pt x="161670" y="83323"/>
                </a:cubicBezTo>
                <a:cubicBezTo>
                  <a:pt x="160426" y="84567"/>
                  <a:pt x="159182" y="85810"/>
                  <a:pt x="156694" y="87054"/>
                </a:cubicBezTo>
                <a:cubicBezTo>
                  <a:pt x="154208" y="89541"/>
                  <a:pt x="150476" y="92028"/>
                  <a:pt x="146746" y="95759"/>
                </a:cubicBezTo>
                <a:cubicBezTo>
                  <a:pt x="144258" y="97003"/>
                  <a:pt x="140528" y="100734"/>
                  <a:pt x="138040" y="103221"/>
                </a:cubicBezTo>
                <a:cubicBezTo>
                  <a:pt x="134310" y="104464"/>
                  <a:pt x="133066" y="106952"/>
                  <a:pt x="130578" y="108195"/>
                </a:cubicBezTo>
                <a:cubicBezTo>
                  <a:pt x="128092" y="110683"/>
                  <a:pt x="125604" y="113170"/>
                  <a:pt x="123118" y="116901"/>
                </a:cubicBezTo>
                <a:cubicBezTo>
                  <a:pt x="121874" y="118144"/>
                  <a:pt x="119386" y="119388"/>
                  <a:pt x="118142" y="120632"/>
                </a:cubicBezTo>
                <a:cubicBezTo>
                  <a:pt x="115656" y="123119"/>
                  <a:pt x="113168" y="126850"/>
                  <a:pt x="110680" y="128093"/>
                </a:cubicBezTo>
                <a:cubicBezTo>
                  <a:pt x="109438" y="130581"/>
                  <a:pt x="108194" y="133068"/>
                  <a:pt x="105706" y="134311"/>
                </a:cubicBezTo>
                <a:cubicBezTo>
                  <a:pt x="104462" y="135555"/>
                  <a:pt x="101976" y="139286"/>
                  <a:pt x="99488" y="141773"/>
                </a:cubicBezTo>
                <a:cubicBezTo>
                  <a:pt x="98244" y="144260"/>
                  <a:pt x="95758" y="145504"/>
                  <a:pt x="94514" y="146748"/>
                </a:cubicBezTo>
                <a:cubicBezTo>
                  <a:pt x="93270" y="149235"/>
                  <a:pt x="92026" y="151722"/>
                  <a:pt x="89540" y="154209"/>
                </a:cubicBezTo>
                <a:cubicBezTo>
                  <a:pt x="124360" y="166646"/>
                  <a:pt x="159182" y="176595"/>
                  <a:pt x="196490" y="185300"/>
                </a:cubicBezTo>
                <a:cubicBezTo>
                  <a:pt x="223850" y="121875"/>
                  <a:pt x="267376" y="65912"/>
                  <a:pt x="320852" y="22385"/>
                </a:cubicBezTo>
                <a:close/>
                <a:moveTo>
                  <a:pt x="355674" y="0"/>
                </a:moveTo>
                <a:lnTo>
                  <a:pt x="356918" y="0"/>
                </a:lnTo>
                <a:cubicBezTo>
                  <a:pt x="364380" y="0"/>
                  <a:pt x="369354" y="1244"/>
                  <a:pt x="376816" y="1244"/>
                </a:cubicBezTo>
                <a:cubicBezTo>
                  <a:pt x="378058" y="1244"/>
                  <a:pt x="380546" y="1244"/>
                  <a:pt x="381790" y="1244"/>
                </a:cubicBezTo>
                <a:cubicBezTo>
                  <a:pt x="388008" y="1244"/>
                  <a:pt x="392982" y="2487"/>
                  <a:pt x="397956" y="2487"/>
                </a:cubicBezTo>
                <a:cubicBezTo>
                  <a:pt x="399200" y="3731"/>
                  <a:pt x="401688" y="3731"/>
                  <a:pt x="402932" y="3731"/>
                </a:cubicBezTo>
                <a:cubicBezTo>
                  <a:pt x="407906" y="3731"/>
                  <a:pt x="412880" y="4975"/>
                  <a:pt x="419098" y="6218"/>
                </a:cubicBezTo>
                <a:cubicBezTo>
                  <a:pt x="420342" y="6218"/>
                  <a:pt x="420342" y="6218"/>
                  <a:pt x="422830" y="6218"/>
                </a:cubicBezTo>
                <a:cubicBezTo>
                  <a:pt x="450188" y="11193"/>
                  <a:pt x="476304" y="19898"/>
                  <a:pt x="501176" y="31091"/>
                </a:cubicBezTo>
                <a:cubicBezTo>
                  <a:pt x="501176" y="31091"/>
                  <a:pt x="502420" y="31091"/>
                  <a:pt x="502420" y="32334"/>
                </a:cubicBezTo>
                <a:cubicBezTo>
                  <a:pt x="508638" y="33578"/>
                  <a:pt x="514856" y="37309"/>
                  <a:pt x="519832" y="39796"/>
                </a:cubicBezTo>
                <a:cubicBezTo>
                  <a:pt x="521074" y="39796"/>
                  <a:pt x="521074" y="39796"/>
                  <a:pt x="522318" y="41040"/>
                </a:cubicBezTo>
                <a:cubicBezTo>
                  <a:pt x="527292" y="43527"/>
                  <a:pt x="533512" y="47258"/>
                  <a:pt x="538486" y="50989"/>
                </a:cubicBezTo>
                <a:lnTo>
                  <a:pt x="539730" y="50989"/>
                </a:lnTo>
                <a:cubicBezTo>
                  <a:pt x="545948" y="54720"/>
                  <a:pt x="550922" y="57207"/>
                  <a:pt x="557140" y="62181"/>
                </a:cubicBezTo>
                <a:cubicBezTo>
                  <a:pt x="558384" y="62181"/>
                  <a:pt x="559628" y="63425"/>
                  <a:pt x="560870" y="64669"/>
                </a:cubicBezTo>
                <a:cubicBezTo>
                  <a:pt x="563358" y="67156"/>
                  <a:pt x="568332" y="69643"/>
                  <a:pt x="572064" y="73374"/>
                </a:cubicBezTo>
                <a:cubicBezTo>
                  <a:pt x="574550" y="74618"/>
                  <a:pt x="575794" y="75861"/>
                  <a:pt x="578282" y="78348"/>
                </a:cubicBezTo>
                <a:cubicBezTo>
                  <a:pt x="582012" y="80836"/>
                  <a:pt x="584500" y="83323"/>
                  <a:pt x="586986" y="84567"/>
                </a:cubicBezTo>
                <a:cubicBezTo>
                  <a:pt x="589474" y="87054"/>
                  <a:pt x="591962" y="89541"/>
                  <a:pt x="594448" y="90785"/>
                </a:cubicBezTo>
                <a:cubicBezTo>
                  <a:pt x="596936" y="93272"/>
                  <a:pt x="599422" y="95759"/>
                  <a:pt x="600666" y="97003"/>
                </a:cubicBezTo>
                <a:cubicBezTo>
                  <a:pt x="603154" y="99490"/>
                  <a:pt x="605640" y="101977"/>
                  <a:pt x="608128" y="104464"/>
                </a:cubicBezTo>
                <a:cubicBezTo>
                  <a:pt x="609372" y="105708"/>
                  <a:pt x="610616" y="106952"/>
                  <a:pt x="611858" y="108195"/>
                </a:cubicBezTo>
                <a:cubicBezTo>
                  <a:pt x="616834" y="114413"/>
                  <a:pt x="623052" y="119388"/>
                  <a:pt x="628026" y="125606"/>
                </a:cubicBezTo>
                <a:cubicBezTo>
                  <a:pt x="629270" y="128093"/>
                  <a:pt x="630514" y="129337"/>
                  <a:pt x="633000" y="131824"/>
                </a:cubicBezTo>
                <a:cubicBezTo>
                  <a:pt x="634244" y="134311"/>
                  <a:pt x="636732" y="136799"/>
                  <a:pt x="639218" y="140530"/>
                </a:cubicBezTo>
                <a:cubicBezTo>
                  <a:pt x="641706" y="141773"/>
                  <a:pt x="642950" y="144260"/>
                  <a:pt x="644192" y="147991"/>
                </a:cubicBezTo>
                <a:cubicBezTo>
                  <a:pt x="646680" y="149235"/>
                  <a:pt x="647924" y="150478"/>
                  <a:pt x="647924" y="151722"/>
                </a:cubicBezTo>
                <a:lnTo>
                  <a:pt x="655386" y="162915"/>
                </a:lnTo>
                <a:cubicBezTo>
                  <a:pt x="691450" y="218878"/>
                  <a:pt x="712592" y="284790"/>
                  <a:pt x="712592" y="356920"/>
                </a:cubicBezTo>
                <a:cubicBezTo>
                  <a:pt x="712592" y="523565"/>
                  <a:pt x="599422" y="662850"/>
                  <a:pt x="445214" y="702646"/>
                </a:cubicBezTo>
                <a:cubicBezTo>
                  <a:pt x="416610" y="710108"/>
                  <a:pt x="386764" y="713839"/>
                  <a:pt x="355674" y="713839"/>
                </a:cubicBezTo>
                <a:cubicBezTo>
                  <a:pt x="327070" y="713839"/>
                  <a:pt x="297224" y="710108"/>
                  <a:pt x="268620" y="702646"/>
                </a:cubicBezTo>
                <a:cubicBezTo>
                  <a:pt x="114412" y="662850"/>
                  <a:pt x="0" y="523565"/>
                  <a:pt x="0" y="356920"/>
                </a:cubicBezTo>
                <a:cubicBezTo>
                  <a:pt x="0" y="284790"/>
                  <a:pt x="21140" y="218878"/>
                  <a:pt x="57206" y="162915"/>
                </a:cubicBezTo>
                <a:lnTo>
                  <a:pt x="64668" y="151722"/>
                </a:lnTo>
                <a:cubicBezTo>
                  <a:pt x="65910" y="150478"/>
                  <a:pt x="67154" y="149235"/>
                  <a:pt x="68398" y="146748"/>
                </a:cubicBezTo>
                <a:cubicBezTo>
                  <a:pt x="69642" y="144260"/>
                  <a:pt x="72128" y="141773"/>
                  <a:pt x="73372" y="140530"/>
                </a:cubicBezTo>
                <a:cubicBezTo>
                  <a:pt x="75860" y="136799"/>
                  <a:pt x="78346" y="134311"/>
                  <a:pt x="80834" y="131824"/>
                </a:cubicBezTo>
                <a:cubicBezTo>
                  <a:pt x="82078" y="129337"/>
                  <a:pt x="84566" y="128093"/>
                  <a:pt x="85808" y="125606"/>
                </a:cubicBezTo>
                <a:cubicBezTo>
                  <a:pt x="90784" y="119388"/>
                  <a:pt x="95758" y="113170"/>
                  <a:pt x="101976" y="108195"/>
                </a:cubicBezTo>
                <a:cubicBezTo>
                  <a:pt x="103220" y="106952"/>
                  <a:pt x="104462" y="105708"/>
                  <a:pt x="104462" y="104464"/>
                </a:cubicBezTo>
                <a:cubicBezTo>
                  <a:pt x="106950" y="101977"/>
                  <a:pt x="110680" y="99490"/>
                  <a:pt x="111924" y="97003"/>
                </a:cubicBezTo>
                <a:cubicBezTo>
                  <a:pt x="114412" y="95759"/>
                  <a:pt x="116900" y="93272"/>
                  <a:pt x="119386" y="90785"/>
                </a:cubicBezTo>
                <a:cubicBezTo>
                  <a:pt x="121874" y="89541"/>
                  <a:pt x="124360" y="87054"/>
                  <a:pt x="126848" y="84567"/>
                </a:cubicBezTo>
                <a:cubicBezTo>
                  <a:pt x="129336" y="83323"/>
                  <a:pt x="131822" y="80836"/>
                  <a:pt x="134310" y="78348"/>
                </a:cubicBezTo>
                <a:cubicBezTo>
                  <a:pt x="136796" y="75861"/>
                  <a:pt x="139284" y="74618"/>
                  <a:pt x="140528" y="73374"/>
                </a:cubicBezTo>
                <a:cubicBezTo>
                  <a:pt x="145502" y="69643"/>
                  <a:pt x="147990" y="67156"/>
                  <a:pt x="152964" y="64669"/>
                </a:cubicBezTo>
                <a:cubicBezTo>
                  <a:pt x="154208" y="63425"/>
                  <a:pt x="155452" y="62181"/>
                  <a:pt x="156694" y="62181"/>
                </a:cubicBezTo>
                <a:cubicBezTo>
                  <a:pt x="161670" y="57207"/>
                  <a:pt x="167888" y="54720"/>
                  <a:pt x="174106" y="50989"/>
                </a:cubicBezTo>
                <a:cubicBezTo>
                  <a:pt x="180324" y="47258"/>
                  <a:pt x="185298" y="43527"/>
                  <a:pt x="191516" y="41040"/>
                </a:cubicBezTo>
                <a:cubicBezTo>
                  <a:pt x="191516" y="39796"/>
                  <a:pt x="192760" y="39796"/>
                  <a:pt x="194004" y="39796"/>
                </a:cubicBezTo>
                <a:cubicBezTo>
                  <a:pt x="198978" y="37309"/>
                  <a:pt x="205196" y="33578"/>
                  <a:pt x="210170" y="32334"/>
                </a:cubicBezTo>
                <a:lnTo>
                  <a:pt x="211414" y="31091"/>
                </a:lnTo>
                <a:cubicBezTo>
                  <a:pt x="237530" y="19898"/>
                  <a:pt x="263646" y="11193"/>
                  <a:pt x="291006" y="6218"/>
                </a:cubicBezTo>
                <a:lnTo>
                  <a:pt x="293492" y="6218"/>
                </a:lnTo>
                <a:cubicBezTo>
                  <a:pt x="299710" y="4975"/>
                  <a:pt x="304686" y="3731"/>
                  <a:pt x="310904" y="3731"/>
                </a:cubicBezTo>
                <a:cubicBezTo>
                  <a:pt x="312148" y="3731"/>
                  <a:pt x="313390" y="3731"/>
                  <a:pt x="315878" y="2487"/>
                </a:cubicBezTo>
                <a:cubicBezTo>
                  <a:pt x="320852" y="2487"/>
                  <a:pt x="325826" y="1244"/>
                  <a:pt x="330802" y="1244"/>
                </a:cubicBezTo>
                <a:cubicBezTo>
                  <a:pt x="333288" y="1244"/>
                  <a:pt x="334532" y="1244"/>
                  <a:pt x="337020" y="1244"/>
                </a:cubicBezTo>
                <a:cubicBezTo>
                  <a:pt x="341994" y="1244"/>
                  <a:pt x="349456" y="0"/>
                  <a:pt x="355674" y="0"/>
                </a:cubicBezTo>
                <a:close/>
              </a:path>
            </a:pathLst>
          </a:custGeom>
          <a:solidFill>
            <a:schemeClr val="accent3"/>
          </a:solidFill>
          <a:ln cap="flat">
            <a:noFill/>
            <a:prstDash val="solid"/>
          </a:ln>
        </p:spPr>
        <p:txBody>
          <a:bodyPr vert="horz" wrap="square" lIns="45000" tIns="22500" rIns="45000" bIns="22500" anchor="ctr" anchorCtr="1" compatLnSpc="0">
            <a:noAutofit/>
          </a:bodyPr>
          <a:lstStyle/>
          <a:p>
            <a:pPr hangingPunct="0"/>
            <a:endParaRPr lang="en-US" sz="900">
              <a:latin typeface="Poppins" panose="00000500000000000000" pitchFamily="2" charset="0"/>
              <a:ea typeface="Microsoft YaHei" pitchFamily="2"/>
              <a:cs typeface="Lucida Sans" pitchFamily="2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F619D8F2-86C9-45A1-A8C8-F851BD7E7AFA}"/>
              </a:ext>
            </a:extLst>
          </p:cNvPr>
          <p:cNvSpPr txBox="1"/>
          <p:nvPr/>
        </p:nvSpPr>
        <p:spPr>
          <a:xfrm>
            <a:off x="724434" y="-118300"/>
            <a:ext cx="10668000" cy="1129348"/>
          </a:xfrm>
          <a:prstGeom prst="rect">
            <a:avLst/>
          </a:prstGeom>
          <a:noFill/>
        </p:spPr>
        <p:txBody>
          <a:bodyPr wrap="square" lIns="91440" tIns="45720" rIns="91440" bIns="45720" rtlCol="0" anchor="b">
            <a:spAutoFit/>
          </a:bodyPr>
          <a:lstStyle>
            <a:defPPr>
              <a:defRPr lang="en-US"/>
            </a:defPPr>
            <a:lvl1pPr algn="ctr">
              <a:lnSpc>
                <a:spcPts val="9400"/>
              </a:lnSpc>
              <a:defRPr sz="8000" b="1" spc="-290">
                <a:solidFill>
                  <a:schemeClr val="tx2"/>
                </a:solidFill>
                <a:latin typeface="Raleway" panose="020B0503030101060003" pitchFamily="34" charset="77"/>
              </a:defRPr>
            </a:lvl1pPr>
          </a:lstStyle>
          <a:p>
            <a:r>
              <a:rPr lang="en-US" sz="3600" i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Faits </a:t>
            </a:r>
            <a:r>
              <a:rPr lang="en-US" sz="3600" i="1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saillants</a:t>
            </a:r>
            <a:r>
              <a:rPr lang="en-US" sz="3600" i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 pour le </a:t>
            </a:r>
            <a:r>
              <a:rPr lang="en-US" sz="3600" i="1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prescripteur</a:t>
            </a:r>
            <a:r>
              <a:rPr lang="en-US" sz="3600" i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600" i="1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en</a:t>
            </a:r>
            <a:r>
              <a:rPr lang="en-US" sz="3600" i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3600" i="1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imagerie</a:t>
            </a:r>
            <a:endParaRPr lang="en-US" sz="3600" i="1">
              <a:solidFill>
                <a:schemeClr val="tx1"/>
              </a:solidFill>
              <a:latin typeface="+mj-lt"/>
              <a:ea typeface="+mj-ea"/>
              <a:cs typeface="Calibri Light" panose="020F0302020204030204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135F9F8A-C8DF-41CF-BC53-30942A5DA876}"/>
              </a:ext>
            </a:extLst>
          </p:cNvPr>
          <p:cNvSpPr txBox="1"/>
          <p:nvPr/>
        </p:nvSpPr>
        <p:spPr>
          <a:xfrm>
            <a:off x="750791" y="1089132"/>
            <a:ext cx="10668000" cy="3481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100"/>
              </a:lnSpc>
            </a:pPr>
            <a:r>
              <a:rPr lang="en-US" sz="1500" spc="-60">
                <a:latin typeface="Poppins" panose="00000500000000000000" pitchFamily="2" charset="0"/>
                <a:cs typeface="Poppins" panose="00000500000000000000" pitchFamily="2" charset="0"/>
              </a:rPr>
              <a:t>2024 - </a:t>
            </a:r>
            <a:r>
              <a:rPr lang="en-US" sz="1500" spc="-60" err="1">
                <a:latin typeface="Poppins" panose="00000500000000000000" pitchFamily="2" charset="0"/>
                <a:cs typeface="Poppins" panose="00000500000000000000" pitchFamily="2" charset="0"/>
              </a:rPr>
              <a:t>Utilisation</a:t>
            </a:r>
            <a:r>
              <a:rPr lang="en-US" sz="1500" spc="-6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US" sz="1500" spc="-60" err="1">
                <a:latin typeface="Poppins" panose="00000500000000000000" pitchFamily="2" charset="0"/>
                <a:cs typeface="Poppins" panose="00000500000000000000" pitchFamily="2" charset="0"/>
              </a:rPr>
              <a:t>clinique</a:t>
            </a:r>
            <a:r>
              <a:rPr lang="en-US" sz="1500" spc="-60">
                <a:latin typeface="Poppins" panose="00000500000000000000" pitchFamily="2" charset="0"/>
                <a:cs typeface="Poppins" panose="00000500000000000000" pitchFamily="2" charset="0"/>
              </a:rPr>
              <a:t> des travaux </a:t>
            </a:r>
            <a:r>
              <a:rPr lang="en-US" sz="1500" spc="-60" err="1">
                <a:latin typeface="Poppins" panose="00000500000000000000" pitchFamily="2" charset="0"/>
                <a:cs typeface="Poppins" panose="00000500000000000000" pitchFamily="2" charset="0"/>
              </a:rPr>
              <a:t>effectués</a:t>
            </a:r>
            <a:r>
              <a:rPr lang="en-US" sz="1500" spc="-6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US" sz="1500" spc="-60" err="1">
                <a:latin typeface="Poppins" panose="00000500000000000000" pitchFamily="2" charset="0"/>
                <a:cs typeface="Poppins" panose="00000500000000000000" pitchFamily="2" charset="0"/>
              </a:rPr>
              <a:t>depuis</a:t>
            </a:r>
            <a:r>
              <a:rPr lang="en-US" sz="1500" spc="-60">
                <a:latin typeface="Poppins" panose="00000500000000000000" pitchFamily="2" charset="0"/>
                <a:cs typeface="Poppins" panose="00000500000000000000" pitchFamily="2" charset="0"/>
              </a:rPr>
              <a:t> les </a:t>
            </a:r>
            <a:r>
              <a:rPr lang="en-US" sz="1500" spc="-60" err="1">
                <a:latin typeface="Poppins" panose="00000500000000000000" pitchFamily="2" charset="0"/>
                <a:cs typeface="Poppins" panose="00000500000000000000" pitchFamily="2" charset="0"/>
              </a:rPr>
              <a:t>derniers</a:t>
            </a:r>
            <a:r>
              <a:rPr lang="en-US" sz="1500" spc="-60"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US" sz="1500" spc="-60" err="1">
                <a:latin typeface="Poppins" panose="00000500000000000000" pitchFamily="2" charset="0"/>
                <a:cs typeface="Poppins" panose="00000500000000000000" pitchFamily="2" charset="0"/>
              </a:rPr>
              <a:t>mois</a:t>
            </a:r>
            <a:endParaRPr lang="en-US" sz="1500" spc="-6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" name="TextBox 106">
            <a:extLst>
              <a:ext uri="{FF2B5EF4-FFF2-40B4-BE49-F238E27FC236}">
                <a16:creationId xmlns:a16="http://schemas.microsoft.com/office/drawing/2014/main" id="{8D890AAF-023A-0BCA-2CBF-34A450CD2B33}"/>
              </a:ext>
            </a:extLst>
          </p:cNvPr>
          <p:cNvSpPr txBox="1"/>
          <p:nvPr/>
        </p:nvSpPr>
        <p:spPr>
          <a:xfrm>
            <a:off x="2574281" y="2277952"/>
            <a:ext cx="3104899" cy="5573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>
              <a:lnSpc>
                <a:spcPts val="1800"/>
              </a:lnSpc>
            </a:pPr>
            <a:r>
              <a:rPr lang="en-US" sz="1700" b="1" spc="-15" dirty="0" err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rojet</a:t>
            </a:r>
            <a:r>
              <a:rPr lang="en-US" sz="1700" b="1" spc="-15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US" sz="1700" b="1" spc="-15" dirty="0" err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ilote</a:t>
            </a:r>
            <a:r>
              <a:rPr lang="en-US" sz="1700" b="1" spc="-15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US" sz="1700" b="1" spc="-15" dirty="0" err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n</a:t>
            </a:r>
            <a:r>
              <a:rPr lang="en-US" sz="1700" b="1" spc="-15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US" sz="1700" b="1" spc="-15" dirty="0" err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urs</a:t>
            </a:r>
            <a:r>
              <a:rPr lang="en-US" sz="1700" b="1" spc="-15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dans les Laurentides </a:t>
            </a:r>
            <a:r>
              <a:rPr lang="en-US" sz="1400" i="1" spc="-15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(externe)</a:t>
            </a:r>
            <a:r>
              <a:rPr lang="en-US" sz="1400" b="1" spc="-15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 </a:t>
            </a:r>
          </a:p>
        </p:txBody>
      </p:sp>
      <p:sp>
        <p:nvSpPr>
          <p:cNvPr id="4" name="TextBox 102">
            <a:extLst>
              <a:ext uri="{FF2B5EF4-FFF2-40B4-BE49-F238E27FC236}">
                <a16:creationId xmlns:a16="http://schemas.microsoft.com/office/drawing/2014/main" id="{16CAF5A0-A350-B426-A175-AE6E7CD6FE20}"/>
              </a:ext>
            </a:extLst>
          </p:cNvPr>
          <p:cNvSpPr txBox="1"/>
          <p:nvPr/>
        </p:nvSpPr>
        <p:spPr>
          <a:xfrm>
            <a:off x="6052203" y="2263960"/>
            <a:ext cx="4018265" cy="53937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ts val="1800"/>
              </a:lnSpc>
            </a:pPr>
            <a:r>
              <a:rPr lang="en-US" sz="1200" spc="-10" dirty="0" err="1">
                <a:solidFill>
                  <a:schemeClr val="bg1"/>
                </a:solidFill>
                <a:latin typeface="Poppins"/>
                <a:cs typeface="Poppins"/>
              </a:rPr>
              <a:t>Ajustements</a:t>
            </a:r>
            <a:r>
              <a:rPr lang="en-US" sz="1200" spc="-10" dirty="0">
                <a:solidFill>
                  <a:schemeClr val="bg1"/>
                </a:solidFill>
                <a:latin typeface="Poppins"/>
                <a:cs typeface="Poppins"/>
              </a:rPr>
              <a:t> et </a:t>
            </a:r>
            <a:r>
              <a:rPr lang="en-US" sz="1200" spc="-10" dirty="0" err="1">
                <a:solidFill>
                  <a:schemeClr val="bg1"/>
                </a:solidFill>
                <a:latin typeface="Poppins"/>
                <a:cs typeface="Poppins"/>
              </a:rPr>
              <a:t>contrôle</a:t>
            </a:r>
            <a:r>
              <a:rPr lang="en-US" sz="1200" spc="-10" dirty="0">
                <a:solidFill>
                  <a:schemeClr val="bg1"/>
                </a:solidFill>
                <a:latin typeface="Poppins"/>
                <a:cs typeface="Poppins"/>
              </a:rPr>
              <a:t> de </a:t>
            </a:r>
            <a:r>
              <a:rPr lang="en-US" sz="1200" spc="-10" dirty="0" err="1">
                <a:solidFill>
                  <a:schemeClr val="bg1"/>
                </a:solidFill>
                <a:latin typeface="Poppins"/>
                <a:cs typeface="Poppins"/>
              </a:rPr>
              <a:t>qualités</a:t>
            </a:r>
            <a:r>
              <a:rPr lang="en-US" sz="1200" spc="-10" dirty="0">
                <a:solidFill>
                  <a:schemeClr val="bg1"/>
                </a:solidFill>
                <a:latin typeface="Poppins"/>
                <a:cs typeface="Poppins"/>
              </a:rPr>
              <a:t>; Planification des </a:t>
            </a:r>
            <a:r>
              <a:rPr lang="en-US" sz="1200" spc="-10" dirty="0" err="1">
                <a:solidFill>
                  <a:schemeClr val="bg1"/>
                </a:solidFill>
                <a:latin typeface="Poppins"/>
                <a:cs typeface="Poppins"/>
              </a:rPr>
              <a:t>essaies</a:t>
            </a:r>
            <a:r>
              <a:rPr lang="en-US" sz="1200" spc="-10" dirty="0">
                <a:solidFill>
                  <a:schemeClr val="bg1"/>
                </a:solidFill>
                <a:latin typeface="Poppins"/>
                <a:cs typeface="Poppins"/>
              </a:rPr>
              <a:t> et des </a:t>
            </a:r>
            <a:r>
              <a:rPr lang="en-US" sz="1200" spc="-10" dirty="0" err="1">
                <a:solidFill>
                  <a:schemeClr val="bg1"/>
                </a:solidFill>
                <a:latin typeface="Poppins"/>
                <a:cs typeface="Poppins"/>
              </a:rPr>
              <a:t>utilisateurs</a:t>
            </a:r>
            <a:r>
              <a:rPr lang="en-US" sz="1200" spc="-10" dirty="0">
                <a:solidFill>
                  <a:schemeClr val="bg1"/>
                </a:solidFill>
                <a:latin typeface="Poppins"/>
                <a:cs typeface="Poppins"/>
              </a:rPr>
              <a:t> </a:t>
            </a:r>
            <a:r>
              <a:rPr lang="en-US" sz="1200" spc="-10" dirty="0" err="1">
                <a:solidFill>
                  <a:schemeClr val="bg1"/>
                </a:solidFill>
                <a:latin typeface="Poppins"/>
                <a:cs typeface="Poppins"/>
              </a:rPr>
              <a:t>pilotes</a:t>
            </a:r>
            <a:r>
              <a:rPr lang="en-US" sz="1200" spc="-10" dirty="0">
                <a:solidFill>
                  <a:schemeClr val="bg1"/>
                </a:solidFill>
                <a:latin typeface="Poppins"/>
                <a:cs typeface="Poppins"/>
              </a:rPr>
              <a:t> </a:t>
            </a:r>
            <a:r>
              <a:rPr lang="en-US" sz="1200" spc="-10" dirty="0" err="1">
                <a:solidFill>
                  <a:schemeClr val="bg1"/>
                </a:solidFill>
                <a:latin typeface="Poppins"/>
                <a:cs typeface="Poppins"/>
              </a:rPr>
              <a:t>en</a:t>
            </a:r>
            <a:r>
              <a:rPr lang="en-US" sz="1200" spc="-10" dirty="0">
                <a:solidFill>
                  <a:schemeClr val="bg1"/>
                </a:solidFill>
                <a:latin typeface="Poppins"/>
                <a:cs typeface="Poppins"/>
              </a:rPr>
              <a:t> </a:t>
            </a:r>
            <a:r>
              <a:rPr lang="en-US" sz="1200" spc="-10" dirty="0" err="1">
                <a:solidFill>
                  <a:schemeClr val="bg1"/>
                </a:solidFill>
                <a:latin typeface="Poppins"/>
                <a:cs typeface="Poppins"/>
              </a:rPr>
              <a:t>avril</a:t>
            </a:r>
            <a:r>
              <a:rPr lang="en-US" sz="1200" spc="-10" dirty="0">
                <a:solidFill>
                  <a:schemeClr val="bg1"/>
                </a:solidFill>
                <a:latin typeface="Poppins"/>
                <a:cs typeface="Poppins"/>
              </a:rPr>
              <a:t> 2024.</a:t>
            </a:r>
          </a:p>
        </p:txBody>
      </p:sp>
      <p:sp>
        <p:nvSpPr>
          <p:cNvPr id="5" name="TextBox 106">
            <a:extLst>
              <a:ext uri="{FF2B5EF4-FFF2-40B4-BE49-F238E27FC236}">
                <a16:creationId xmlns:a16="http://schemas.microsoft.com/office/drawing/2014/main" id="{DE197A9D-9194-B33D-BECB-D764BC41DF93}"/>
              </a:ext>
            </a:extLst>
          </p:cNvPr>
          <p:cNvSpPr txBox="1"/>
          <p:nvPr/>
        </p:nvSpPr>
        <p:spPr>
          <a:xfrm>
            <a:off x="2574280" y="3374078"/>
            <a:ext cx="3104899" cy="326500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>
              <a:lnSpc>
                <a:spcPts val="1800"/>
              </a:lnSpc>
            </a:pPr>
            <a:r>
              <a:rPr lang="en-US" sz="1700" b="1" spc="-15" dirty="0" err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Outil</a:t>
            </a:r>
            <a:r>
              <a:rPr lang="en-US" sz="1700" b="1" spc="-15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US" sz="1700" b="1" spc="-15" dirty="0" err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’aide</a:t>
            </a:r>
            <a:r>
              <a:rPr lang="en-US" sz="1700" b="1" spc="-15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à la </a:t>
            </a:r>
            <a:r>
              <a:rPr lang="en-US" sz="1700" b="1" spc="-15" dirty="0" err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décision</a:t>
            </a:r>
            <a:endParaRPr lang="en-US" sz="1700" b="1" spc="-15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" name="TextBox 102">
            <a:extLst>
              <a:ext uri="{FF2B5EF4-FFF2-40B4-BE49-F238E27FC236}">
                <a16:creationId xmlns:a16="http://schemas.microsoft.com/office/drawing/2014/main" id="{0D2688A0-DB27-68D1-F756-8C87FE347B9E}"/>
              </a:ext>
            </a:extLst>
          </p:cNvPr>
          <p:cNvSpPr txBox="1"/>
          <p:nvPr/>
        </p:nvSpPr>
        <p:spPr>
          <a:xfrm>
            <a:off x="6107838" y="3228034"/>
            <a:ext cx="4018265" cy="5393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800"/>
              </a:lnSpc>
            </a:pPr>
            <a:r>
              <a:rPr lang="en-US" sz="1200" spc="-10" dirty="0" err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justements</a:t>
            </a:r>
            <a:r>
              <a:rPr lang="en-US" sz="1200" spc="-1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et </a:t>
            </a:r>
            <a:r>
              <a:rPr lang="en-US" sz="1200" spc="-10" dirty="0" err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ontrôle</a:t>
            </a:r>
            <a:r>
              <a:rPr lang="en-US" sz="1200" spc="-1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de </a:t>
            </a:r>
            <a:r>
              <a:rPr lang="en-US" sz="1200" spc="-10" dirty="0" err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qualités</a:t>
            </a:r>
            <a:r>
              <a:rPr lang="en-US" sz="1200" spc="-1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; </a:t>
            </a:r>
            <a:r>
              <a:rPr lang="en-US" sz="1200" spc="-10" dirty="0" err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rrimage</a:t>
            </a:r>
            <a:r>
              <a:rPr lang="en-US" sz="1200" spc="-1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et validation des guides </a:t>
            </a:r>
            <a:r>
              <a:rPr lang="en-US" sz="1200" spc="-10" dirty="0" err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raduits</a:t>
            </a:r>
            <a:r>
              <a:rPr lang="en-US" sz="1200" spc="-1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US" sz="1200" spc="-10" dirty="0" err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en</a:t>
            </a:r>
            <a:r>
              <a:rPr lang="en-US" sz="1200" spc="-10" dirty="0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  <a:r>
              <a:rPr lang="en-US" sz="1200" spc="-10" dirty="0" err="1">
                <a:solidFill>
                  <a:schemeClr val="bg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français</a:t>
            </a:r>
            <a:endParaRPr lang="en-US" sz="1200" spc="-10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7" name="TextBox 106">
            <a:extLst>
              <a:ext uri="{FF2B5EF4-FFF2-40B4-BE49-F238E27FC236}">
                <a16:creationId xmlns:a16="http://schemas.microsoft.com/office/drawing/2014/main" id="{93CF59EB-FFCB-8B5D-258D-7A30F23BE552}"/>
              </a:ext>
            </a:extLst>
          </p:cNvPr>
          <p:cNvSpPr txBox="1"/>
          <p:nvPr/>
        </p:nvSpPr>
        <p:spPr>
          <a:xfrm>
            <a:off x="2574279" y="4355932"/>
            <a:ext cx="3104899" cy="326500"/>
          </a:xfrm>
          <a:prstGeom prst="rect">
            <a:avLst/>
          </a:prstGeom>
          <a:noFill/>
        </p:spPr>
        <p:txBody>
          <a:bodyPr wrap="square" lIns="91440" tIns="45720" rIns="91440" bIns="45720" rtlCol="0" anchor="b">
            <a:spAutoFit/>
          </a:bodyPr>
          <a:lstStyle/>
          <a:p>
            <a:pPr algn="r">
              <a:lnSpc>
                <a:spcPts val="1800"/>
              </a:lnSpc>
            </a:pPr>
            <a:r>
              <a:rPr lang="en-US" sz="1700" b="1" spc="-15" dirty="0" err="1">
                <a:solidFill>
                  <a:schemeClr val="bg1"/>
                </a:solidFill>
                <a:latin typeface="Poppins"/>
                <a:cs typeface="Poppins"/>
              </a:rPr>
              <a:t>Déploiement</a:t>
            </a:r>
            <a:r>
              <a:rPr lang="en-US" sz="1700" b="1" spc="-15" dirty="0">
                <a:solidFill>
                  <a:schemeClr val="bg1"/>
                </a:solidFill>
                <a:latin typeface="Poppins"/>
                <a:cs typeface="Poppins"/>
              </a:rPr>
              <a:t> provincial</a:t>
            </a:r>
            <a:endParaRPr lang="en-US" sz="1700" b="1" spc="-15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8" name="TextBox 102">
            <a:extLst>
              <a:ext uri="{FF2B5EF4-FFF2-40B4-BE49-F238E27FC236}">
                <a16:creationId xmlns:a16="http://schemas.microsoft.com/office/drawing/2014/main" id="{C37375C6-EF2E-F54E-3388-592CC749F33A}"/>
              </a:ext>
            </a:extLst>
          </p:cNvPr>
          <p:cNvSpPr txBox="1"/>
          <p:nvPr/>
        </p:nvSpPr>
        <p:spPr>
          <a:xfrm>
            <a:off x="6059773" y="4168324"/>
            <a:ext cx="4018265" cy="77021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ts val="1800"/>
              </a:lnSpc>
            </a:pPr>
            <a:r>
              <a:rPr lang="en-US" sz="1200" spc="-15" dirty="0">
                <a:solidFill>
                  <a:schemeClr val="bg1"/>
                </a:solidFill>
                <a:latin typeface="Poppins"/>
                <a:cs typeface="Poppins"/>
              </a:rPr>
              <a:t>Planification pour </a:t>
            </a:r>
            <a:r>
              <a:rPr lang="en-US" sz="1200" spc="-15" dirty="0" err="1">
                <a:solidFill>
                  <a:schemeClr val="bg1"/>
                </a:solidFill>
                <a:latin typeface="Poppins"/>
                <a:cs typeface="Poppins"/>
              </a:rPr>
              <a:t>déployer</a:t>
            </a:r>
            <a:r>
              <a:rPr lang="en-US" sz="1200" spc="-15" dirty="0">
                <a:solidFill>
                  <a:schemeClr val="bg1"/>
                </a:solidFill>
                <a:latin typeface="Poppins"/>
                <a:cs typeface="Poppins"/>
              </a:rPr>
              <a:t> dans des sites </a:t>
            </a:r>
            <a:r>
              <a:rPr lang="en-US" sz="1200" spc="-15" dirty="0" err="1">
                <a:solidFill>
                  <a:schemeClr val="bg1"/>
                </a:solidFill>
                <a:latin typeface="Poppins"/>
                <a:cs typeface="Poppins"/>
              </a:rPr>
              <a:t>supplémentaires</a:t>
            </a:r>
            <a:r>
              <a:rPr lang="en-US" sz="1200" spc="-15" dirty="0">
                <a:solidFill>
                  <a:schemeClr val="bg1"/>
                </a:solidFill>
                <a:latin typeface="Poppins"/>
                <a:cs typeface="Poppins"/>
              </a:rPr>
              <a:t>. Planification pour </a:t>
            </a:r>
            <a:r>
              <a:rPr lang="en-US" sz="1200" spc="-15" dirty="0" err="1">
                <a:solidFill>
                  <a:schemeClr val="bg1"/>
                </a:solidFill>
                <a:latin typeface="Poppins"/>
                <a:cs typeface="Poppins"/>
              </a:rPr>
              <a:t>une</a:t>
            </a:r>
            <a:r>
              <a:rPr lang="en-US" sz="1200" spc="-15" dirty="0">
                <a:solidFill>
                  <a:schemeClr val="bg1"/>
                </a:solidFill>
                <a:latin typeface="Poppins"/>
                <a:cs typeface="Poppins"/>
              </a:rPr>
              <a:t> </a:t>
            </a:r>
            <a:r>
              <a:rPr lang="en-US" sz="1200" spc="-15" dirty="0" err="1">
                <a:solidFill>
                  <a:schemeClr val="bg1"/>
                </a:solidFill>
                <a:latin typeface="Poppins"/>
                <a:cs typeface="Poppins"/>
              </a:rPr>
              <a:t>demande</a:t>
            </a:r>
            <a:r>
              <a:rPr lang="en-US" sz="1200" spc="-15" dirty="0">
                <a:solidFill>
                  <a:schemeClr val="bg1"/>
                </a:solidFill>
                <a:latin typeface="Poppins"/>
                <a:cs typeface="Poppins"/>
              </a:rPr>
              <a:t> de </a:t>
            </a:r>
            <a:r>
              <a:rPr lang="en-US" sz="1200" spc="-15" dirty="0" err="1">
                <a:solidFill>
                  <a:schemeClr val="bg1"/>
                </a:solidFill>
                <a:latin typeface="Poppins"/>
                <a:cs typeface="Poppins"/>
              </a:rPr>
              <a:t>financement</a:t>
            </a:r>
            <a:r>
              <a:rPr lang="en-US" sz="1200" spc="-15" dirty="0">
                <a:solidFill>
                  <a:schemeClr val="bg1"/>
                </a:solidFill>
                <a:latin typeface="Poppins"/>
                <a:cs typeface="Poppins"/>
              </a:rPr>
              <a:t> pour un </a:t>
            </a:r>
            <a:r>
              <a:rPr lang="en-US" sz="1200" spc="-15" dirty="0" err="1">
                <a:solidFill>
                  <a:schemeClr val="bg1"/>
                </a:solidFill>
                <a:latin typeface="Poppins"/>
                <a:cs typeface="Poppins"/>
              </a:rPr>
              <a:t>projet</a:t>
            </a:r>
            <a:r>
              <a:rPr lang="en-US" sz="1200" spc="-15" dirty="0">
                <a:solidFill>
                  <a:schemeClr val="bg1"/>
                </a:solidFill>
                <a:latin typeface="Poppins"/>
                <a:cs typeface="Poppins"/>
              </a:rPr>
              <a:t> </a:t>
            </a:r>
            <a:r>
              <a:rPr lang="en-US" sz="1200" spc="-15" dirty="0" err="1">
                <a:solidFill>
                  <a:schemeClr val="bg1"/>
                </a:solidFill>
                <a:latin typeface="Poppins"/>
                <a:cs typeface="Poppins"/>
              </a:rPr>
              <a:t>provicial</a:t>
            </a:r>
            <a:r>
              <a:rPr lang="en-US" sz="1200" spc="-15" dirty="0">
                <a:solidFill>
                  <a:schemeClr val="bg1"/>
                </a:solidFill>
                <a:latin typeface="Poppins"/>
                <a:cs typeface="Poppins"/>
              </a:rPr>
              <a:t>.</a:t>
            </a:r>
            <a:endParaRPr lang="en-US" sz="1200" spc="-15" dirty="0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19631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17BDFC-A56B-E103-9ADD-A6B83775A1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1" name="Straight Connector 20">
            <a:extLst>
              <a:ext uri="{FF2B5EF4-FFF2-40B4-BE49-F238E27FC236}">
                <a16:creationId xmlns:a16="http://schemas.microsoft.com/office/drawing/2014/main" id="{D5247A72-E746-16CB-55C1-6C273E6A888E}"/>
              </a:ext>
            </a:extLst>
          </p:cNvPr>
          <p:cNvCxnSpPr>
            <a:cxnSpLocks/>
          </p:cNvCxnSpPr>
          <p:nvPr>
            <p:custDataLst>
              <p:tags r:id="rId1"/>
            </p:custDataLst>
          </p:nvPr>
        </p:nvCxnSpPr>
        <p:spPr>
          <a:xfrm>
            <a:off x="5461675" y="2022514"/>
            <a:ext cx="0" cy="43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 : coins arrondis 4">
            <a:extLst>
              <a:ext uri="{FF2B5EF4-FFF2-40B4-BE49-F238E27FC236}">
                <a16:creationId xmlns:a16="http://schemas.microsoft.com/office/drawing/2014/main" id="{CE8F3227-6C8A-4822-CCF5-0E180544C39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215464" y="2447217"/>
            <a:ext cx="1203677" cy="27888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fr-FR" sz="1400">
                <a:solidFill>
                  <a:prstClr val="white">
                    <a:lumMod val="95000"/>
                  </a:prstClr>
                </a:solidFill>
                <a:cs typeface="Calibri"/>
              </a:rPr>
              <a:t>QA</a:t>
            </a:r>
            <a:endParaRPr lang="fr-FR">
              <a:solidFill>
                <a:prstClr val="white">
                  <a:lumMod val="95000"/>
                </a:prstClr>
              </a:solidFill>
            </a:endParaRPr>
          </a:p>
        </p:txBody>
      </p:sp>
      <p:graphicFrame>
        <p:nvGraphicFramePr>
          <p:cNvPr id="15" name="Objet 14" hidden="1">
            <a:extLst>
              <a:ext uri="{FF2B5EF4-FFF2-40B4-BE49-F238E27FC236}">
                <a16:creationId xmlns:a16="http://schemas.microsoft.com/office/drawing/2014/main" id="{3B495C57-0F6F-C004-35D6-8851332709C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3" imgW="7772400" imgH="10058400" progId="TCLayout.ActiveDocument.1">
                  <p:embed/>
                </p:oleObj>
              </mc:Choice>
              <mc:Fallback>
                <p:oleObj name="Diapositive think-cell" r:id="rId53" imgW="7772400" imgH="10058400" progId="TCLayout.ActiveDocument.1">
                  <p:embed/>
                  <p:pic>
                    <p:nvPicPr>
                      <p:cNvPr id="15" name="Objet 14" hidden="1">
                        <a:extLst>
                          <a:ext uri="{FF2B5EF4-FFF2-40B4-BE49-F238E27FC236}">
                            <a16:creationId xmlns:a16="http://schemas.microsoft.com/office/drawing/2014/main" id="{3B495C57-0F6F-C004-35D6-8851332709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62B24AE-26E2-70F1-BEA2-C34F70320501}"/>
              </a:ext>
            </a:extLst>
          </p:cNvPr>
          <p:cNvSpPr>
            <a:spLocks noGrp="1"/>
          </p:cNvSpPr>
          <p:nvPr>
            <p:ph type="sldNum" sz="quarter" idx="4294967295"/>
            <p:custDataLst>
              <p:tags r:id="rId4"/>
            </p:custDataLst>
          </p:nvPr>
        </p:nvSpPr>
        <p:spPr>
          <a:xfrm>
            <a:off x="8610600" y="44112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1EA75C-EC4C-4D33-ACF8-A8544E993E0B}" type="slidenum">
              <a:rPr kumimoji="0" lang="fr-CA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D2E83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CA" sz="1200" b="0" i="0" u="none" strike="noStrike" kern="1200" cap="none" spc="0" normalizeH="0" baseline="0" noProof="0">
              <a:ln>
                <a:noFill/>
              </a:ln>
              <a:solidFill>
                <a:srgbClr val="2D2E83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" name="TextBox 49">
            <a:extLst>
              <a:ext uri="{FF2B5EF4-FFF2-40B4-BE49-F238E27FC236}">
                <a16:creationId xmlns:a16="http://schemas.microsoft.com/office/drawing/2014/main" id="{DAEE9F36-28FB-4F40-58EA-8943A2CD56C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850290" y="1366470"/>
            <a:ext cx="1692824" cy="523220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400" b="0" i="0" u="none" strike="noStrike" kern="1200" cap="none" spc="0" normalizeH="0" baseline="0" noProof="0">
                <a:ln>
                  <a:noFill/>
                </a:ln>
                <a:solidFill>
                  <a:srgbClr val="2D2E8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an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400" b="0" i="0" u="none" strike="noStrike" kern="1200" cap="none" spc="0" normalizeH="0" baseline="0" noProof="0">
                <a:ln>
                  <a:noFill/>
                </a:ln>
                <a:solidFill>
                  <a:srgbClr val="2D2E8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4</a:t>
            </a:r>
          </a:p>
        </p:txBody>
      </p:sp>
      <p:sp>
        <p:nvSpPr>
          <p:cNvPr id="105" name="TextBox 49">
            <a:extLst>
              <a:ext uri="{FF2B5EF4-FFF2-40B4-BE49-F238E27FC236}">
                <a16:creationId xmlns:a16="http://schemas.microsoft.com/office/drawing/2014/main" id="{7159049F-E522-41E5-2D90-3070A6F355D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584663" y="1366470"/>
            <a:ext cx="1231935" cy="523220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400" b="0" i="0" u="none" strike="noStrike" kern="1200" cap="none" spc="0" normalizeH="0" baseline="0" noProof="0" err="1">
                <a:ln>
                  <a:noFill/>
                </a:ln>
                <a:solidFill>
                  <a:srgbClr val="2D2E8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ev</a:t>
            </a:r>
            <a:r>
              <a:rPr kumimoji="0" lang="fr-CA" sz="1400" b="0" i="0" u="none" strike="noStrike" kern="1200" cap="none" spc="0" normalizeH="0" baseline="0" noProof="0">
                <a:ln>
                  <a:noFill/>
                </a:ln>
                <a:solidFill>
                  <a:srgbClr val="2D2E8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400" b="0" i="0" u="none" strike="noStrike" kern="1200" cap="none" spc="0" normalizeH="0" baseline="0" noProof="0">
                <a:ln>
                  <a:noFill/>
                </a:ln>
                <a:solidFill>
                  <a:srgbClr val="2D2E8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4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BEEDC8D-E3AC-93FE-07E2-FD55EADF06B6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377362" y="2027052"/>
            <a:ext cx="0" cy="43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F9AE8B1-D4EB-55B6-9F15-A7E36B306B30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4213270" y="2027052"/>
            <a:ext cx="0" cy="43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52EC8E9-60E6-C437-04A4-064B86F9D1B2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 flipH="1">
            <a:off x="4631224" y="2027052"/>
            <a:ext cx="5420" cy="4320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3F5D9D9-95A5-5F25-6C9F-9C25FE55C2EE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7154099" y="2027052"/>
            <a:ext cx="0" cy="43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9E4FA54-979A-57A9-879A-8E9409C4348E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6736145" y="2027052"/>
            <a:ext cx="0" cy="43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662F5783-703F-E528-91F9-F169D64B7787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>
          <a:xfrm>
            <a:off x="5054598" y="2027052"/>
            <a:ext cx="0" cy="43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86E6AD08-13BD-AF36-AEFC-9299818BADF5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>
          <a:xfrm flipH="1">
            <a:off x="2952602" y="2027052"/>
            <a:ext cx="6806" cy="43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5D134CD4-50AC-E0DB-686F-4E54F9846346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>
          <a:xfrm>
            <a:off x="3795316" y="2027052"/>
            <a:ext cx="0" cy="43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18">
            <a:extLst>
              <a:ext uri="{FF2B5EF4-FFF2-40B4-BE49-F238E27FC236}">
                <a16:creationId xmlns:a16="http://schemas.microsoft.com/office/drawing/2014/main" id="{F20EC996-E367-3FF7-E86E-9692165543E0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>
          <a:xfrm>
            <a:off x="7572053" y="2027052"/>
            <a:ext cx="0" cy="43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18">
            <a:extLst>
              <a:ext uri="{FF2B5EF4-FFF2-40B4-BE49-F238E27FC236}">
                <a16:creationId xmlns:a16="http://schemas.microsoft.com/office/drawing/2014/main" id="{713410E4-F049-A99E-D46D-E628C5830745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>
          <a:xfrm>
            <a:off x="7990007" y="2027052"/>
            <a:ext cx="0" cy="43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18">
            <a:extLst>
              <a:ext uri="{FF2B5EF4-FFF2-40B4-BE49-F238E27FC236}">
                <a16:creationId xmlns:a16="http://schemas.microsoft.com/office/drawing/2014/main" id="{3714746D-C06D-4624-70A2-F320F433E650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>
          <a:xfrm>
            <a:off x="8407961" y="2027052"/>
            <a:ext cx="0" cy="43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8">
            <a:extLst>
              <a:ext uri="{FF2B5EF4-FFF2-40B4-BE49-F238E27FC236}">
                <a16:creationId xmlns:a16="http://schemas.microsoft.com/office/drawing/2014/main" id="{D6F40955-6788-363D-DEB3-952D2708BE07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>
          <a:xfrm>
            <a:off x="9661823" y="2027052"/>
            <a:ext cx="0" cy="43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8">
            <a:extLst>
              <a:ext uri="{FF2B5EF4-FFF2-40B4-BE49-F238E27FC236}">
                <a16:creationId xmlns:a16="http://schemas.microsoft.com/office/drawing/2014/main" id="{B352CF84-2BB8-F9EE-9B82-62515FF982F0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>
          <a:xfrm>
            <a:off x="10079777" y="2027052"/>
            <a:ext cx="0" cy="43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18">
            <a:extLst>
              <a:ext uri="{FF2B5EF4-FFF2-40B4-BE49-F238E27FC236}">
                <a16:creationId xmlns:a16="http://schemas.microsoft.com/office/drawing/2014/main" id="{1EF566F8-32D2-3501-0898-7C7FF726CD3A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>
          <a:xfrm>
            <a:off x="10497731" y="2027052"/>
            <a:ext cx="0" cy="43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49">
            <a:extLst>
              <a:ext uri="{FF2B5EF4-FFF2-40B4-BE49-F238E27FC236}">
                <a16:creationId xmlns:a16="http://schemas.microsoft.com/office/drawing/2014/main" id="{DF956629-CF1E-417C-BFC0-00077906FD69}"/>
              </a:ext>
            </a:extLst>
          </p:cNvPr>
          <p:cNvSpPr txBox="1"/>
          <p:nvPr>
            <p:custDataLst>
              <p:tags r:id="rId21"/>
            </p:custDataLst>
          </p:nvPr>
        </p:nvSpPr>
        <p:spPr>
          <a:xfrm>
            <a:off x="5845420" y="1365462"/>
            <a:ext cx="1231934" cy="523220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fr-CA" sz="1400">
                <a:solidFill>
                  <a:srgbClr val="2D2E83"/>
                </a:solidFill>
                <a:latin typeface="Calibri" panose="020F0502020204030204"/>
              </a:rPr>
              <a:t>Mars </a:t>
            </a:r>
            <a:endParaRPr kumimoji="0" lang="fr-CA" sz="1400" b="0" i="0" u="none" strike="noStrike" kern="1200" cap="none" spc="0" normalizeH="0" baseline="0" noProof="0">
              <a:ln>
                <a:noFill/>
              </a:ln>
              <a:solidFill>
                <a:srgbClr val="2D2E8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400" b="0" i="0" u="none" strike="noStrike" kern="1200" cap="none" spc="0" normalizeH="0" baseline="0" noProof="0">
                <a:ln>
                  <a:noFill/>
                </a:ln>
                <a:solidFill>
                  <a:srgbClr val="2D2E8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4</a:t>
            </a:r>
            <a:endParaRPr lang="fr-CA" sz="1400" b="0" i="0" u="none" strike="noStrike" kern="1200" cap="none" spc="0" normalizeH="0" baseline="0" noProof="0">
              <a:ln>
                <a:noFill/>
              </a:ln>
              <a:solidFill>
                <a:srgbClr val="2D2E83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  <p:sp>
        <p:nvSpPr>
          <p:cNvPr id="87" name="TextBox 49">
            <a:extLst>
              <a:ext uri="{FF2B5EF4-FFF2-40B4-BE49-F238E27FC236}">
                <a16:creationId xmlns:a16="http://schemas.microsoft.com/office/drawing/2014/main" id="{01F96D59-7249-D491-16B6-46AF2D902AB3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7109466" y="1365462"/>
            <a:ext cx="1270192" cy="523220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fr-CA" sz="1400">
                <a:solidFill>
                  <a:srgbClr val="2D2E83"/>
                </a:solidFill>
                <a:latin typeface="Calibri" panose="020F0502020204030204"/>
              </a:rPr>
              <a:t>Avril </a:t>
            </a:r>
            <a:endParaRPr kumimoji="0" lang="fr-CA" sz="1400" b="0" i="0" u="none" strike="noStrike" kern="1200" cap="none" spc="0" normalizeH="0" baseline="0" noProof="0">
              <a:ln>
                <a:noFill/>
              </a:ln>
              <a:solidFill>
                <a:srgbClr val="2D2E8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400" b="0" i="0" u="none" strike="noStrike" kern="1200" cap="none" spc="0" normalizeH="0" baseline="0" noProof="0">
                <a:ln>
                  <a:noFill/>
                </a:ln>
                <a:solidFill>
                  <a:srgbClr val="2D2E8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4</a:t>
            </a:r>
            <a:endParaRPr lang="fr-CA" sz="1400" b="0" i="0" u="none" strike="noStrike" kern="1200" cap="none" spc="0" normalizeH="0" baseline="0" noProof="0">
              <a:ln>
                <a:noFill/>
              </a:ln>
              <a:solidFill>
                <a:srgbClr val="2D2E83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  <p:sp>
        <p:nvSpPr>
          <p:cNvPr id="65" name="Titre 1">
            <a:extLst>
              <a:ext uri="{FF2B5EF4-FFF2-40B4-BE49-F238E27FC236}">
                <a16:creationId xmlns:a16="http://schemas.microsoft.com/office/drawing/2014/main" id="{176376AC-56F0-3104-D26C-01B677853DBE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192009" y="148358"/>
            <a:ext cx="11448436" cy="752042"/>
          </a:xfrm>
        </p:spPr>
        <p:txBody>
          <a:bodyPr>
            <a:noAutofit/>
          </a:bodyPr>
          <a:lstStyle/>
          <a:p>
            <a:r>
              <a:rPr lang="fr-CA" i="1" spc="-290">
                <a:latin typeface="+mj-lt"/>
              </a:rPr>
              <a:t>Projet prescripteur en imagerie – externe (SAFIR)  </a:t>
            </a:r>
            <a:endParaRPr lang="fr-FR" i="1" spc="-290">
              <a:latin typeface="+mj-lt"/>
            </a:endParaRPr>
          </a:p>
        </p:txBody>
      </p:sp>
      <p:sp>
        <p:nvSpPr>
          <p:cNvPr id="71" name="ZoneTexte 70">
            <a:extLst>
              <a:ext uri="{FF2B5EF4-FFF2-40B4-BE49-F238E27FC236}">
                <a16:creationId xmlns:a16="http://schemas.microsoft.com/office/drawing/2014/main" id="{6FC1B25E-C6B0-9A2B-F6ED-FC02FFC44D93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193534" y="1446089"/>
            <a:ext cx="1762099" cy="37555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1" indent="0" algn="just" defTabSz="457200" rtl="0" eaLnBrk="1" fontAlgn="base" latinLnBrk="0" hangingPunct="1">
              <a:lnSpc>
                <a:spcPct val="107000"/>
              </a:lnSpc>
              <a:spcBef>
                <a:spcPts val="1200"/>
              </a:spcBef>
              <a:spcAft>
                <a:spcPts val="600"/>
              </a:spcAft>
              <a:buClr>
                <a:srgbClr val="4DC0DF">
                  <a:lumMod val="75000"/>
                </a:srgbClr>
              </a:buClr>
              <a:buSzPts val="1600"/>
              <a:buFontTx/>
              <a:buNone/>
              <a:tabLst>
                <a:tab pos="342900" algn="l"/>
              </a:tabLst>
              <a:defRPr/>
            </a:pPr>
            <a:r>
              <a:rPr lang="fr-CA" b="1" i="1">
                <a:solidFill>
                  <a:srgbClr val="2D2E83"/>
                </a:solidFill>
                <a:latin typeface="Calibri" panose="020F0502020204030204"/>
                <a:cs typeface="Times New Roman"/>
              </a:rPr>
              <a:t>Projets pilotes</a:t>
            </a:r>
          </a:p>
        </p:txBody>
      </p:sp>
      <p:cxnSp>
        <p:nvCxnSpPr>
          <p:cNvPr id="104" name="Straight Connector 20">
            <a:extLst>
              <a:ext uri="{FF2B5EF4-FFF2-40B4-BE49-F238E27FC236}">
                <a16:creationId xmlns:a16="http://schemas.microsoft.com/office/drawing/2014/main" id="{7F017057-B46E-390C-257C-CB93C306692B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>
          <a:xfrm>
            <a:off x="5900237" y="2027052"/>
            <a:ext cx="0" cy="43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8">
            <a:extLst>
              <a:ext uri="{FF2B5EF4-FFF2-40B4-BE49-F238E27FC236}">
                <a16:creationId xmlns:a16="http://schemas.microsoft.com/office/drawing/2014/main" id="{F0D07F2C-C3EB-6238-2287-8DF7767351DD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>
          <a:xfrm>
            <a:off x="6318191" y="2027052"/>
            <a:ext cx="0" cy="43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8">
            <a:extLst>
              <a:ext uri="{FF2B5EF4-FFF2-40B4-BE49-F238E27FC236}">
                <a16:creationId xmlns:a16="http://schemas.microsoft.com/office/drawing/2014/main" id="{CD73A502-5956-D2A5-1EE2-32E9A46D6F78}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>
          <a:xfrm>
            <a:off x="8825915" y="2027052"/>
            <a:ext cx="0" cy="43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8">
            <a:extLst>
              <a:ext uri="{FF2B5EF4-FFF2-40B4-BE49-F238E27FC236}">
                <a16:creationId xmlns:a16="http://schemas.microsoft.com/office/drawing/2014/main" id="{B5E75A98-CAE5-BEAA-5520-67FCD6CA4345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>
          <a:xfrm>
            <a:off x="9243869" y="2027052"/>
            <a:ext cx="0" cy="43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18">
            <a:extLst>
              <a:ext uri="{FF2B5EF4-FFF2-40B4-BE49-F238E27FC236}">
                <a16:creationId xmlns:a16="http://schemas.microsoft.com/office/drawing/2014/main" id="{025BF40E-9BEE-60BA-740D-FCB5F75E6AA9}"/>
              </a:ext>
            </a:extLst>
          </p:cNvPr>
          <p:cNvCxnSpPr>
            <a:cxnSpLocks/>
          </p:cNvCxnSpPr>
          <p:nvPr>
            <p:custDataLst>
              <p:tags r:id="rId29"/>
            </p:custDataLst>
          </p:nvPr>
        </p:nvCxnSpPr>
        <p:spPr>
          <a:xfrm>
            <a:off x="10915685" y="2027052"/>
            <a:ext cx="0" cy="43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40">
            <a:extLst>
              <a:ext uri="{FF2B5EF4-FFF2-40B4-BE49-F238E27FC236}">
                <a16:creationId xmlns:a16="http://schemas.microsoft.com/office/drawing/2014/main" id="{923641E4-D662-7157-B30D-CA10E33942C2}"/>
              </a:ext>
            </a:extLst>
          </p:cNvPr>
          <p:cNvSpPr txBox="1"/>
          <p:nvPr>
            <p:custDataLst>
              <p:tags r:id="rId30"/>
            </p:custDataLst>
          </p:nvPr>
        </p:nvSpPr>
        <p:spPr>
          <a:xfrm>
            <a:off x="6371300" y="6028827"/>
            <a:ext cx="3230875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100" b="0" i="0" u="none" strike="noStrike" kern="1200" cap="none" spc="0" normalizeH="0" baseline="0" noProof="0">
                <a:ln>
                  <a:noFill/>
                </a:ln>
                <a:solidFill>
                  <a:srgbClr val="2D2E8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se en production</a:t>
            </a:r>
            <a:endParaRPr kumimoji="0" lang="fr-CA" sz="1100" b="0" i="0" u="none" strike="noStrike" kern="1200" cap="none" spc="0" normalizeH="0" baseline="0" noProof="0">
              <a:ln>
                <a:noFill/>
              </a:ln>
              <a:solidFill>
                <a:srgbClr val="2D2E83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17" name="TextBox 13">
            <a:extLst>
              <a:ext uri="{FF2B5EF4-FFF2-40B4-BE49-F238E27FC236}">
                <a16:creationId xmlns:a16="http://schemas.microsoft.com/office/drawing/2014/main" id="{33260CFA-B06E-A5E5-6E06-70A9BB66EFE0}"/>
              </a:ext>
            </a:extLst>
          </p:cNvPr>
          <p:cNvSpPr txBox="1"/>
          <p:nvPr>
            <p:custDataLst>
              <p:tags r:id="rId31"/>
            </p:custDataLst>
          </p:nvPr>
        </p:nvSpPr>
        <p:spPr>
          <a:xfrm>
            <a:off x="6368402" y="5764298"/>
            <a:ext cx="1581993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4572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pPr>
            <a:r>
              <a:rPr lang="fr-CA" sz="1100" b="1">
                <a:solidFill>
                  <a:srgbClr val="2D2E83"/>
                </a:solidFill>
                <a:latin typeface="Calibri Light" panose="020F0302020204030204"/>
                <a:cs typeface="Calibri Light"/>
              </a:rPr>
              <a:t>Disponibilité</a:t>
            </a:r>
            <a:endParaRPr lang="fr-FR">
              <a:ea typeface="+mn-ea"/>
            </a:endParaRPr>
          </a:p>
        </p:txBody>
      </p:sp>
      <p:sp>
        <p:nvSpPr>
          <p:cNvPr id="18" name="Triangle isocèle 17">
            <a:extLst>
              <a:ext uri="{FF2B5EF4-FFF2-40B4-BE49-F238E27FC236}">
                <a16:creationId xmlns:a16="http://schemas.microsoft.com/office/drawing/2014/main" id="{2B6B2B43-084C-341A-D73B-546B4F6764AF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6102595" y="5738305"/>
            <a:ext cx="283228" cy="198984"/>
          </a:xfrm>
          <a:prstGeom prst="triangl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B5B9C09B-E264-8FB0-826D-3CDFEE0D0C1F}"/>
              </a:ext>
            </a:extLst>
          </p:cNvPr>
          <p:cNvPicPr>
            <a:picLocks noChangeAspect="1"/>
          </p:cNvPicPr>
          <p:nvPr>
            <p:custDataLst>
              <p:tags r:id="rId33"/>
            </p:custDataLst>
          </p:nvPr>
        </p:nvPicPr>
        <p:blipFill>
          <a:blip r:embed="rId55"/>
          <a:stretch>
            <a:fillRect/>
          </a:stretch>
        </p:blipFill>
        <p:spPr>
          <a:xfrm>
            <a:off x="6133954" y="6021694"/>
            <a:ext cx="257233" cy="303620"/>
          </a:xfrm>
          <a:prstGeom prst="rect">
            <a:avLst/>
          </a:prstGeom>
        </p:spPr>
      </p:pic>
      <p:sp>
        <p:nvSpPr>
          <p:cNvPr id="22" name="Rectangle : coins arrondis 4">
            <a:extLst>
              <a:ext uri="{FF2B5EF4-FFF2-40B4-BE49-F238E27FC236}">
                <a16:creationId xmlns:a16="http://schemas.microsoft.com/office/drawing/2014/main" id="{EB0A0F8F-D13B-349B-EE06-15EDB4D23677}"/>
              </a:ext>
            </a:extLst>
          </p:cNvPr>
          <p:cNvSpPr/>
          <p:nvPr>
            <p:custDataLst>
              <p:tags r:id="rId34"/>
            </p:custDataLst>
          </p:nvPr>
        </p:nvSpPr>
        <p:spPr>
          <a:xfrm>
            <a:off x="5009543" y="2759920"/>
            <a:ext cx="2563871" cy="258230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>
              <a:defRPr/>
            </a:pPr>
            <a:r>
              <a:rPr lang="fr-CA" sz="1400">
                <a:solidFill>
                  <a:srgbClr val="002060"/>
                </a:solidFill>
                <a:latin typeface="Calibri" panose="020F0502020204030204"/>
              </a:rPr>
              <a:t>Tests</a:t>
            </a:r>
            <a:endParaRPr kumimoji="0" lang="fr-CA" sz="14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51" name="Rectangle : coins arrondis 4">
            <a:extLst>
              <a:ext uri="{FF2B5EF4-FFF2-40B4-BE49-F238E27FC236}">
                <a16:creationId xmlns:a16="http://schemas.microsoft.com/office/drawing/2014/main" id="{221FD23B-99B8-7959-13EC-84EAD706EEAF}"/>
              </a:ext>
            </a:extLst>
          </p:cNvPr>
          <p:cNvSpPr/>
          <p:nvPr>
            <p:custDataLst>
              <p:tags r:id="rId35"/>
            </p:custDataLst>
          </p:nvPr>
        </p:nvSpPr>
        <p:spPr>
          <a:xfrm>
            <a:off x="2959884" y="2124303"/>
            <a:ext cx="1363594" cy="271248"/>
          </a:xfrm>
          <a:prstGeom prst="roundRect">
            <a:avLst/>
          </a:prstGeom>
          <a:solidFill>
            <a:srgbClr val="A2D6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>
              <a:defRPr/>
            </a:pPr>
            <a:r>
              <a:rPr lang="fr-CA" sz="1400">
                <a:solidFill>
                  <a:srgbClr val="002060"/>
                </a:solidFill>
                <a:latin typeface="Calibri" panose="020F0502020204030204"/>
              </a:rPr>
              <a:t>Activation</a:t>
            </a:r>
            <a:endParaRPr kumimoji="0" lang="fr-CA" sz="1400" b="0" i="0" u="none" strike="noStrike" kern="1200" cap="none" spc="0" normalizeH="0" baseline="0" noProof="0" err="1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sp>
        <p:nvSpPr>
          <p:cNvPr id="26" name="TextBox 49">
            <a:extLst>
              <a:ext uri="{FF2B5EF4-FFF2-40B4-BE49-F238E27FC236}">
                <a16:creationId xmlns:a16="http://schemas.microsoft.com/office/drawing/2014/main" id="{D7649EC0-5F59-C2A8-D9B4-E6FE9A1433A7}"/>
              </a:ext>
            </a:extLst>
          </p:cNvPr>
          <p:cNvSpPr txBox="1"/>
          <p:nvPr>
            <p:custDataLst>
              <p:tags r:id="rId36"/>
            </p:custDataLst>
          </p:nvPr>
        </p:nvSpPr>
        <p:spPr>
          <a:xfrm>
            <a:off x="8420519" y="1368628"/>
            <a:ext cx="1167393" cy="523220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400" b="0" i="0" u="none" strike="noStrike" kern="1200" cap="none" spc="0" normalizeH="0" baseline="0" noProof="0">
                <a:ln>
                  <a:noFill/>
                </a:ln>
                <a:solidFill>
                  <a:srgbClr val="2D2E8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i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400" b="0" i="0" u="none" strike="noStrike" kern="1200" cap="none" spc="0" normalizeH="0" baseline="0" noProof="0">
                <a:ln>
                  <a:noFill/>
                </a:ln>
                <a:solidFill>
                  <a:srgbClr val="2D2E8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4</a:t>
            </a:r>
          </a:p>
        </p:txBody>
      </p:sp>
      <p:sp>
        <p:nvSpPr>
          <p:cNvPr id="30" name="TextBox 49">
            <a:extLst>
              <a:ext uri="{FF2B5EF4-FFF2-40B4-BE49-F238E27FC236}">
                <a16:creationId xmlns:a16="http://schemas.microsoft.com/office/drawing/2014/main" id="{7512F556-A49E-74F8-0676-39B5A81E9692}"/>
              </a:ext>
            </a:extLst>
          </p:cNvPr>
          <p:cNvSpPr txBox="1"/>
          <p:nvPr>
            <p:custDataLst>
              <p:tags r:id="rId37"/>
            </p:custDataLst>
          </p:nvPr>
        </p:nvSpPr>
        <p:spPr>
          <a:xfrm>
            <a:off x="9634647" y="1368339"/>
            <a:ext cx="1231063" cy="523220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A" sz="1400">
                <a:solidFill>
                  <a:srgbClr val="2D2E83"/>
                </a:solidFill>
                <a:latin typeface="Calibri" panose="020F0502020204030204"/>
              </a:rPr>
              <a:t>Juin</a:t>
            </a:r>
            <a:endParaRPr kumimoji="0" lang="fr-CA" sz="1400" b="0" i="0" u="none" strike="noStrike" kern="1200" cap="none" spc="0" normalizeH="0" baseline="0" noProof="0">
              <a:ln>
                <a:noFill/>
              </a:ln>
              <a:solidFill>
                <a:srgbClr val="2D2E8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A" sz="1400">
                <a:solidFill>
                  <a:srgbClr val="2D2E83"/>
                </a:solidFill>
                <a:latin typeface="Calibri" panose="020F0502020204030204"/>
              </a:rPr>
              <a:t>2024</a:t>
            </a:r>
            <a:endParaRPr lang="fr-CA" sz="1400" b="0" i="0" u="none" strike="noStrike" kern="1200" cap="none" spc="0" normalizeH="0" baseline="0" noProof="0">
              <a:ln>
                <a:noFill/>
              </a:ln>
              <a:solidFill>
                <a:srgbClr val="2D2E83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  <p:cxnSp>
        <p:nvCxnSpPr>
          <p:cNvPr id="41" name="Straight Connector 18">
            <a:extLst>
              <a:ext uri="{FF2B5EF4-FFF2-40B4-BE49-F238E27FC236}">
                <a16:creationId xmlns:a16="http://schemas.microsoft.com/office/drawing/2014/main" id="{432D7C53-B3C8-F432-3103-7AC419B6EFD6}"/>
              </a:ext>
            </a:extLst>
          </p:cNvPr>
          <p:cNvCxnSpPr>
            <a:cxnSpLocks/>
          </p:cNvCxnSpPr>
          <p:nvPr>
            <p:custDataLst>
              <p:tags r:id="rId38"/>
            </p:custDataLst>
          </p:nvPr>
        </p:nvCxnSpPr>
        <p:spPr>
          <a:xfrm>
            <a:off x="11325260" y="2027052"/>
            <a:ext cx="0" cy="43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18">
            <a:extLst>
              <a:ext uri="{FF2B5EF4-FFF2-40B4-BE49-F238E27FC236}">
                <a16:creationId xmlns:a16="http://schemas.microsoft.com/office/drawing/2014/main" id="{E5868DF6-D11D-4133-5B5C-16FFD18E0503}"/>
              </a:ext>
            </a:extLst>
          </p:cNvPr>
          <p:cNvCxnSpPr>
            <a:cxnSpLocks/>
          </p:cNvCxnSpPr>
          <p:nvPr>
            <p:custDataLst>
              <p:tags r:id="rId39"/>
            </p:custDataLst>
          </p:nvPr>
        </p:nvCxnSpPr>
        <p:spPr>
          <a:xfrm>
            <a:off x="12153935" y="2017527"/>
            <a:ext cx="0" cy="43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18">
            <a:extLst>
              <a:ext uri="{FF2B5EF4-FFF2-40B4-BE49-F238E27FC236}">
                <a16:creationId xmlns:a16="http://schemas.microsoft.com/office/drawing/2014/main" id="{7EDDA771-C3D0-938B-6E02-2F3B909D0996}"/>
              </a:ext>
            </a:extLst>
          </p:cNvPr>
          <p:cNvCxnSpPr>
            <a:cxnSpLocks/>
          </p:cNvCxnSpPr>
          <p:nvPr>
            <p:custDataLst>
              <p:tags r:id="rId40"/>
            </p:custDataLst>
          </p:nvPr>
        </p:nvCxnSpPr>
        <p:spPr>
          <a:xfrm>
            <a:off x="11744360" y="2017527"/>
            <a:ext cx="0" cy="432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ZoneTexte 56">
            <a:extLst>
              <a:ext uri="{FF2B5EF4-FFF2-40B4-BE49-F238E27FC236}">
                <a16:creationId xmlns:a16="http://schemas.microsoft.com/office/drawing/2014/main" id="{DDB51522-A617-366E-EBC2-8C00598BF1AA}"/>
              </a:ext>
            </a:extLst>
          </p:cNvPr>
          <p:cNvSpPr txBox="1"/>
          <p:nvPr>
            <p:custDataLst>
              <p:tags r:id="rId41"/>
            </p:custDataLst>
          </p:nvPr>
        </p:nvSpPr>
        <p:spPr>
          <a:xfrm>
            <a:off x="109234" y="901197"/>
            <a:ext cx="2833200" cy="40011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defTabSz="914400">
              <a:defRPr/>
            </a:pPr>
            <a:r>
              <a:rPr lang="fr-CA" sz="2000" b="1" u="sng">
                <a:solidFill>
                  <a:srgbClr val="2D2E83"/>
                </a:solidFill>
                <a:latin typeface="Calibri" panose="020F0502020204030204"/>
              </a:rPr>
              <a:t>3. Laurentides</a:t>
            </a:r>
          </a:p>
        </p:txBody>
      </p:sp>
      <p:sp>
        <p:nvSpPr>
          <p:cNvPr id="90" name="Rectangle : coins arrondis 4">
            <a:extLst>
              <a:ext uri="{FF2B5EF4-FFF2-40B4-BE49-F238E27FC236}">
                <a16:creationId xmlns:a16="http://schemas.microsoft.com/office/drawing/2014/main" id="{45D86626-700E-833F-6431-94839F8C972C}"/>
              </a:ext>
            </a:extLst>
          </p:cNvPr>
          <p:cNvSpPr/>
          <p:nvPr>
            <p:custDataLst>
              <p:tags r:id="rId42"/>
            </p:custDataLst>
          </p:nvPr>
        </p:nvSpPr>
        <p:spPr>
          <a:xfrm>
            <a:off x="7881113" y="3399002"/>
            <a:ext cx="2980638" cy="250693"/>
          </a:xfrm>
          <a:prstGeom prst="round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A" sz="1400">
                <a:solidFill>
                  <a:srgbClr val="002060"/>
                </a:solidFill>
                <a:latin typeface="Calibri" panose="020F0502020204030204"/>
                <a:cs typeface="Calibri"/>
              </a:rPr>
              <a:t>Déploiement</a:t>
            </a:r>
            <a:endParaRPr lang="fr-CA" sz="14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  <p:sp>
        <p:nvSpPr>
          <p:cNvPr id="2" name="Rectangle : coins arrondis 4">
            <a:extLst>
              <a:ext uri="{FF2B5EF4-FFF2-40B4-BE49-F238E27FC236}">
                <a16:creationId xmlns:a16="http://schemas.microsoft.com/office/drawing/2014/main" id="{E31DD5BC-7ABB-C9F0-9C93-E74431894D55}"/>
              </a:ext>
            </a:extLst>
          </p:cNvPr>
          <p:cNvSpPr/>
          <p:nvPr>
            <p:custDataLst>
              <p:tags r:id="rId43"/>
            </p:custDataLst>
          </p:nvPr>
        </p:nvSpPr>
        <p:spPr>
          <a:xfrm>
            <a:off x="7255293" y="3105820"/>
            <a:ext cx="1257826" cy="221774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CA" sz="1400">
                <a:solidFill>
                  <a:srgbClr val="002060"/>
                </a:solidFill>
                <a:latin typeface="Calibri" panose="020F0502020204030204"/>
              </a:rPr>
              <a:t>Activation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F5A025F7-8FBA-83A9-EC8A-9F86597C9D31}"/>
              </a:ext>
            </a:extLst>
          </p:cNvPr>
          <p:cNvSpPr txBox="1"/>
          <p:nvPr>
            <p:custDataLst>
              <p:tags r:id="rId44"/>
            </p:custDataLst>
          </p:nvPr>
        </p:nvSpPr>
        <p:spPr>
          <a:xfrm>
            <a:off x="73391" y="2089402"/>
            <a:ext cx="2974328" cy="3385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defTabSz="914400">
              <a:defRPr/>
            </a:pPr>
            <a:r>
              <a:rPr kumimoji="0" lang="fr-CA" sz="1600" b="0" i="0" u="none" strike="noStrike" kern="1200" cap="none" spc="0" normalizeH="0" baseline="0" noProof="0">
                <a:ln>
                  <a:noFill/>
                </a:ln>
                <a:solidFill>
                  <a:srgbClr val="2D2E8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. </a:t>
            </a:r>
            <a:r>
              <a:rPr lang="fr-CA" sz="1600">
                <a:solidFill>
                  <a:srgbClr val="2D2E83"/>
                </a:solidFill>
                <a:latin typeface="Calibri" panose="020F0502020204030204"/>
              </a:rPr>
              <a:t>Développement</a:t>
            </a:r>
            <a:endParaRPr lang="fr-CA" sz="1600" b="0" i="0" u="none" strike="noStrike" kern="1200" cap="none" spc="0" normalizeH="0" baseline="0" noProof="0">
              <a:ln>
                <a:noFill/>
              </a:ln>
              <a:solidFill>
                <a:srgbClr val="2D2E83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7BB21062-BF19-2100-1C58-FC7E18A545F3}"/>
              </a:ext>
            </a:extLst>
          </p:cNvPr>
          <p:cNvSpPr txBox="1"/>
          <p:nvPr>
            <p:custDataLst>
              <p:tags r:id="rId45"/>
            </p:custDataLst>
          </p:nvPr>
        </p:nvSpPr>
        <p:spPr>
          <a:xfrm>
            <a:off x="72548" y="2764986"/>
            <a:ext cx="2798534" cy="3385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defTabSz="914400">
              <a:defRPr/>
            </a:pPr>
            <a:r>
              <a:rPr lang="fr-CA" sz="1600">
                <a:solidFill>
                  <a:srgbClr val="2D2E83"/>
                </a:solidFill>
                <a:latin typeface="Calibri" panose="020F0502020204030204"/>
              </a:rPr>
              <a:t>c</a:t>
            </a:r>
            <a:r>
              <a:rPr kumimoji="0" lang="fr-CA" sz="1600" b="0" i="0" u="none" strike="noStrike" kern="1200" cap="none" spc="0" normalizeH="0" baseline="0" noProof="0">
                <a:ln>
                  <a:noFill/>
                </a:ln>
                <a:solidFill>
                  <a:srgbClr val="2D2E8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lang="fr-CA" sz="1600">
                <a:solidFill>
                  <a:srgbClr val="2D2E83"/>
                </a:solidFill>
                <a:latin typeface="Calibri" panose="020F0502020204030204"/>
              </a:rPr>
              <a:t>Tests CRDS-i </a:t>
            </a:r>
            <a:endParaRPr lang="fr-CA" sz="1600" b="0" i="0" u="none" strike="noStrike" kern="1200" cap="none" spc="0" normalizeH="0" baseline="0" noProof="0">
              <a:ln>
                <a:noFill/>
              </a:ln>
              <a:solidFill>
                <a:srgbClr val="2D2E83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18EBDF07-10F2-86EC-D6E2-D9D0CBFB4630}"/>
              </a:ext>
            </a:extLst>
          </p:cNvPr>
          <p:cNvSpPr txBox="1"/>
          <p:nvPr>
            <p:custDataLst>
              <p:tags r:id="rId46"/>
            </p:custDataLst>
          </p:nvPr>
        </p:nvSpPr>
        <p:spPr>
          <a:xfrm>
            <a:off x="67509" y="3071623"/>
            <a:ext cx="2063463" cy="3385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defTabSz="914400">
              <a:defRPr/>
            </a:pPr>
            <a:r>
              <a:rPr lang="fr-CA" sz="1600">
                <a:solidFill>
                  <a:srgbClr val="2D2E83"/>
                </a:solidFill>
                <a:latin typeface="Calibri" panose="020F0502020204030204"/>
              </a:rPr>
              <a:t>d. Activation</a:t>
            </a:r>
            <a:endParaRPr lang="fr-CA" sz="1600" b="0" i="0" u="none" strike="noStrike" kern="1200" cap="none" spc="0" normalizeH="0" baseline="0" noProof="0">
              <a:ln>
                <a:noFill/>
              </a:ln>
              <a:solidFill>
                <a:srgbClr val="2D2E83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45168CD5-2F97-F237-5970-4B711A72291F}"/>
              </a:ext>
            </a:extLst>
          </p:cNvPr>
          <p:cNvSpPr txBox="1"/>
          <p:nvPr>
            <p:custDataLst>
              <p:tags r:id="rId47"/>
            </p:custDataLst>
          </p:nvPr>
        </p:nvSpPr>
        <p:spPr>
          <a:xfrm>
            <a:off x="72548" y="3345949"/>
            <a:ext cx="2605329" cy="3385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defTabSz="914400">
              <a:defRPr/>
            </a:pPr>
            <a:r>
              <a:rPr lang="fr-CA" sz="1600">
                <a:solidFill>
                  <a:srgbClr val="2D2E83"/>
                </a:solidFill>
                <a:latin typeface="Calibri" panose="020F0502020204030204"/>
              </a:rPr>
              <a:t>e</a:t>
            </a:r>
            <a:r>
              <a:rPr kumimoji="0" lang="fr-CA" sz="1600" b="0" i="0" u="none" strike="noStrike" kern="1200" cap="none" spc="0" normalizeH="0" baseline="0" noProof="0">
                <a:ln>
                  <a:noFill/>
                </a:ln>
                <a:solidFill>
                  <a:srgbClr val="2D2E8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lang="fr-CA" sz="1600">
                <a:solidFill>
                  <a:srgbClr val="2D2E83"/>
                </a:solidFill>
                <a:latin typeface="Calibri" panose="020F0502020204030204"/>
              </a:rPr>
              <a:t>Déploiement production</a:t>
            </a:r>
            <a:endParaRPr kumimoji="0" lang="fr-CA" sz="1600" b="0" i="0" u="none" strike="noStrike" kern="1200" cap="none" spc="0" normalizeH="0" baseline="0" noProof="0">
              <a:ln>
                <a:noFill/>
              </a:ln>
              <a:solidFill>
                <a:srgbClr val="2D2E8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2534527B-E4E0-D09F-2E67-CC1A53532A2A}"/>
              </a:ext>
            </a:extLst>
          </p:cNvPr>
          <p:cNvSpPr txBox="1"/>
          <p:nvPr>
            <p:custDataLst>
              <p:tags r:id="rId48"/>
            </p:custDataLst>
          </p:nvPr>
        </p:nvSpPr>
        <p:spPr>
          <a:xfrm>
            <a:off x="70960" y="2439071"/>
            <a:ext cx="3412918" cy="33855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defTabSz="914400">
              <a:defRPr/>
            </a:pPr>
            <a:r>
              <a:rPr lang="fr-CA" sz="1600">
                <a:solidFill>
                  <a:srgbClr val="2D2E83"/>
                </a:solidFill>
                <a:latin typeface="Calibri" panose="020F0502020204030204"/>
              </a:rPr>
              <a:t>b</a:t>
            </a:r>
            <a:r>
              <a:rPr kumimoji="0" lang="fr-CA" sz="1600" b="0" i="0" u="none" strike="noStrike" kern="1200" cap="none" spc="0" normalizeH="0" baseline="0" noProof="0">
                <a:ln>
                  <a:noFill/>
                </a:ln>
                <a:solidFill>
                  <a:srgbClr val="2D2E8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  <a:r>
              <a:rPr lang="fr-CA" sz="1600">
                <a:solidFill>
                  <a:srgbClr val="2D2E83"/>
                </a:solidFill>
                <a:latin typeface="Calibri" panose="020F0502020204030204"/>
              </a:rPr>
              <a:t>Contrôle de qualité/Validation CDS</a:t>
            </a:r>
            <a:endParaRPr lang="fr-CA" sz="1600" b="0" i="0" u="none" strike="noStrike" kern="1200" cap="none" spc="0" normalizeH="0" baseline="0" noProof="0">
              <a:ln>
                <a:noFill/>
              </a:ln>
              <a:solidFill>
                <a:srgbClr val="2D2E83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  <p:sp>
        <p:nvSpPr>
          <p:cNvPr id="25" name="Triangle isocèle 24">
            <a:extLst>
              <a:ext uri="{FF2B5EF4-FFF2-40B4-BE49-F238E27FC236}">
                <a16:creationId xmlns:a16="http://schemas.microsoft.com/office/drawing/2014/main" id="{227C10BA-2281-1FD3-2276-88DF2BE53EA0}"/>
              </a:ext>
            </a:extLst>
          </p:cNvPr>
          <p:cNvSpPr/>
          <p:nvPr>
            <p:custDataLst>
              <p:tags r:id="rId49"/>
            </p:custDataLst>
          </p:nvPr>
        </p:nvSpPr>
        <p:spPr>
          <a:xfrm>
            <a:off x="7569634" y="2911482"/>
            <a:ext cx="283228" cy="198984"/>
          </a:xfrm>
          <a:prstGeom prst="triangle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3" name="Image 32">
            <a:extLst>
              <a:ext uri="{FF2B5EF4-FFF2-40B4-BE49-F238E27FC236}">
                <a16:creationId xmlns:a16="http://schemas.microsoft.com/office/drawing/2014/main" id="{D3BB0ECD-6623-6670-5661-0202B2C083D1}"/>
              </a:ext>
            </a:extLst>
          </p:cNvPr>
          <p:cNvPicPr>
            <a:picLocks noChangeAspect="1"/>
          </p:cNvPicPr>
          <p:nvPr>
            <p:custDataLst>
              <p:tags r:id="rId50"/>
            </p:custDataLst>
          </p:nvPr>
        </p:nvPicPr>
        <p:blipFill>
          <a:blip r:embed="rId55"/>
          <a:stretch>
            <a:fillRect/>
          </a:stretch>
        </p:blipFill>
        <p:spPr>
          <a:xfrm>
            <a:off x="7882456" y="3402093"/>
            <a:ext cx="213765" cy="252313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716592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3ACE4429-2B76-B5BF-0528-C746C638F845}"/>
              </a:ext>
            </a:extLst>
          </p:cNvPr>
          <p:cNvSpPr/>
          <p:nvPr/>
        </p:nvSpPr>
        <p:spPr>
          <a:xfrm>
            <a:off x="509666" y="5816184"/>
            <a:ext cx="1304144" cy="779488"/>
          </a:xfrm>
          <a:prstGeom prst="rect">
            <a:avLst/>
          </a:prstGeom>
          <a:solidFill>
            <a:srgbClr val="E8F7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A307DFBC-78DF-4B85-2120-E6819D0FBA46}"/>
              </a:ext>
            </a:extLst>
          </p:cNvPr>
          <p:cNvSpPr txBox="1">
            <a:spLocks/>
          </p:cNvSpPr>
          <p:nvPr/>
        </p:nvSpPr>
        <p:spPr>
          <a:xfrm>
            <a:off x="620375" y="1857866"/>
            <a:ext cx="4245342" cy="87970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CA" sz="1200" b="0" i="0" u="none" strike="noStrike" kern="1200">
                <a:solidFill>
                  <a:srgbClr val="00778C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9AE6DA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fr-CA" sz="3200" dirty="0">
                <a:latin typeface="Roboto Light"/>
                <a:ea typeface="Roboto Light"/>
              </a:rPr>
              <a:t>Sections à activer pour l’aide à la décision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3E7CA24-BBA3-FC94-62D8-FE633FF3DC53}"/>
              </a:ext>
            </a:extLst>
          </p:cNvPr>
          <p:cNvSpPr txBox="1">
            <a:spLocks/>
          </p:cNvSpPr>
          <p:nvPr/>
        </p:nvSpPr>
        <p:spPr>
          <a:xfrm>
            <a:off x="620375" y="3086053"/>
            <a:ext cx="5706674" cy="1012227"/>
          </a:xfrm>
          <a:prstGeom prst="rect">
            <a:avLst/>
          </a:prstGeom>
        </p:spPr>
        <p:txBody>
          <a:bodyPr lIns="91440" tIns="45720" rIns="91440" bIns="45720" numCol="2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Light"/>
                <a:ea typeface="Roboto Light"/>
              </a:rPr>
              <a:t>Cancer</a:t>
            </a:r>
          </a:p>
          <a:p>
            <a:r>
              <a:rPr lang="fr-CA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Light"/>
                <a:ea typeface="Roboto Light"/>
              </a:rPr>
              <a:t>Thorax et cardio</a:t>
            </a:r>
            <a:endParaRPr lang="fr-CA" sz="1600" dirty="0">
              <a:solidFill>
                <a:schemeClr val="tx1">
                  <a:lumMod val="75000"/>
                  <a:lumOff val="25000"/>
                </a:schemeClr>
              </a:solidFill>
              <a:latin typeface="Roboto Light"/>
              <a:ea typeface="Roboto Light"/>
              <a:cs typeface="Roboto Light"/>
            </a:endParaRPr>
          </a:p>
          <a:p>
            <a:r>
              <a:rPr lang="fr-CA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Light"/>
                <a:ea typeface="Roboto Light"/>
              </a:rPr>
              <a:t>ORL</a:t>
            </a:r>
            <a:endParaRPr lang="fr-CA" sz="1600" dirty="0">
              <a:solidFill>
                <a:schemeClr val="tx1">
                  <a:lumMod val="75000"/>
                  <a:lumOff val="25000"/>
                </a:schemeClr>
              </a:solidFill>
              <a:latin typeface="Roboto Light"/>
              <a:ea typeface="Roboto Light"/>
              <a:cs typeface="Roboto Light"/>
            </a:endParaRPr>
          </a:p>
          <a:p>
            <a:r>
              <a:rPr lang="fr-CA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Light"/>
                <a:ea typeface="Roboto Light"/>
              </a:rPr>
              <a:t>Gastro </a:t>
            </a:r>
          </a:p>
          <a:p>
            <a:r>
              <a:rPr lang="fr-CA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Light"/>
                <a:ea typeface="Roboto Light"/>
              </a:rPr>
              <a:t>Intervention</a:t>
            </a:r>
            <a:endParaRPr lang="fr-CA" sz="1600" dirty="0">
              <a:solidFill>
                <a:schemeClr val="tx1">
                  <a:lumMod val="75000"/>
                  <a:lumOff val="25000"/>
                </a:schemeClr>
              </a:solidFill>
              <a:latin typeface="Roboto Light"/>
              <a:ea typeface="Roboto Light"/>
              <a:cs typeface="Roboto Light"/>
            </a:endParaRPr>
          </a:p>
          <a:p>
            <a:r>
              <a:rPr lang="fr-CA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Light"/>
                <a:ea typeface="Roboto Light"/>
              </a:rPr>
              <a:t>Musculosquelettique</a:t>
            </a:r>
            <a:endParaRPr lang="fr-CA" sz="1600" dirty="0">
              <a:solidFill>
                <a:schemeClr val="tx1">
                  <a:lumMod val="75000"/>
                  <a:lumOff val="25000"/>
                </a:schemeClr>
              </a:solidFill>
              <a:latin typeface="Roboto Light"/>
              <a:ea typeface="Roboto Light"/>
              <a:cs typeface="Roboto Light"/>
            </a:endParaRPr>
          </a:p>
          <a:p>
            <a:pPr marL="222250" indent="-222250"/>
            <a:r>
              <a:rPr lang="fr-CA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Light"/>
                <a:ea typeface="Roboto Light"/>
              </a:rPr>
              <a:t>Neuro </a:t>
            </a:r>
            <a:endParaRPr lang="fr-CA" sz="1600" dirty="0">
              <a:solidFill>
                <a:schemeClr val="tx1">
                  <a:lumMod val="75000"/>
                  <a:lumOff val="25000"/>
                </a:schemeClr>
              </a:solidFill>
              <a:latin typeface="Roboto Light"/>
              <a:ea typeface="Roboto Light"/>
              <a:cs typeface="Roboto Light"/>
            </a:endParaRPr>
          </a:p>
          <a:p>
            <a:pPr marL="222250" indent="-222250"/>
            <a:r>
              <a:rPr lang="fr-CA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Light"/>
                <a:ea typeface="Roboto Light"/>
              </a:rPr>
              <a:t>Obs et gynéco</a:t>
            </a:r>
            <a:endParaRPr lang="fr-CA" sz="1600" dirty="0">
              <a:solidFill>
                <a:schemeClr val="tx1">
                  <a:lumMod val="75000"/>
                  <a:lumOff val="25000"/>
                </a:schemeClr>
              </a:solidFill>
              <a:latin typeface="Roboto Light"/>
              <a:ea typeface="Roboto Light"/>
              <a:cs typeface="Roboto Light"/>
            </a:endParaRPr>
          </a:p>
          <a:p>
            <a:pPr marL="222250" indent="-222250"/>
            <a:r>
              <a:rPr lang="fr-CA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Light"/>
                <a:ea typeface="Roboto Light"/>
              </a:rPr>
              <a:t>Pédiatrique </a:t>
            </a:r>
            <a:endParaRPr lang="fr-CA" sz="1600" dirty="0">
              <a:solidFill>
                <a:schemeClr val="tx1">
                  <a:lumMod val="75000"/>
                  <a:lumOff val="25000"/>
                </a:schemeClr>
              </a:solidFill>
              <a:cs typeface="Calibri" panose="020F0502020204030204"/>
            </a:endParaRPr>
          </a:p>
          <a:p>
            <a:pPr marL="222250" indent="-222250"/>
            <a:r>
              <a:rPr lang="fr-CA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Light"/>
                <a:ea typeface="Roboto Light"/>
              </a:rPr>
              <a:t>Trauma</a:t>
            </a:r>
            <a:endParaRPr lang="fr-CA" sz="1600" dirty="0">
              <a:solidFill>
                <a:schemeClr val="tx1">
                  <a:lumMod val="75000"/>
                  <a:lumOff val="25000"/>
                </a:schemeClr>
              </a:solidFill>
              <a:latin typeface="Roboto Light"/>
              <a:ea typeface="Roboto Light"/>
              <a:cs typeface="Roboto Light"/>
            </a:endParaRPr>
          </a:p>
          <a:p>
            <a:pPr marL="222250" indent="-222250"/>
            <a:r>
              <a:rPr lang="fr-CA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Light"/>
                <a:ea typeface="Roboto Light"/>
              </a:rPr>
              <a:t>Urinaire </a:t>
            </a:r>
            <a:endParaRPr lang="fr-CA" sz="1600" dirty="0">
              <a:solidFill>
                <a:schemeClr val="tx1">
                  <a:lumMod val="75000"/>
                  <a:lumOff val="25000"/>
                </a:schemeClr>
              </a:solidFill>
              <a:latin typeface="Roboto Light"/>
              <a:ea typeface="Roboto Light"/>
              <a:cs typeface="Roboto Light"/>
            </a:endParaRPr>
          </a:p>
          <a:p>
            <a:pPr marL="222250" indent="-222250"/>
            <a:r>
              <a:rPr lang="fr-CA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Light"/>
                <a:ea typeface="Roboto Light"/>
              </a:rPr>
              <a:t>Seins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E7623726-D4AD-5AF1-E118-11BE3B951E1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580" r="560"/>
          <a:stretch/>
        </p:blipFill>
        <p:spPr>
          <a:xfrm>
            <a:off x="6360301" y="-17253"/>
            <a:ext cx="5848952" cy="6165847"/>
          </a:xfrm>
          <a:prstGeom prst="rect">
            <a:avLst/>
          </a:prstGeom>
        </p:spPr>
      </p:pic>
      <p:pic>
        <p:nvPicPr>
          <p:cNvPr id="9" name="Image 6">
            <a:extLst>
              <a:ext uri="{FF2B5EF4-FFF2-40B4-BE49-F238E27FC236}">
                <a16:creationId xmlns:a16="http://schemas.microsoft.com/office/drawing/2014/main" id="{E9D92D5A-B7B8-AC4A-2B76-CABA0B62D7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6359312" y="3555866"/>
            <a:ext cx="2600325" cy="260985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CA16088-A085-B890-43FA-E50E587D95EE}"/>
              </a:ext>
            </a:extLst>
          </p:cNvPr>
          <p:cNvSpPr/>
          <p:nvPr/>
        </p:nvSpPr>
        <p:spPr>
          <a:xfrm>
            <a:off x="11024558" y="6160952"/>
            <a:ext cx="651627" cy="439139"/>
          </a:xfrm>
          <a:prstGeom prst="rect">
            <a:avLst/>
          </a:prstGeom>
          <a:solidFill>
            <a:srgbClr val="E8F7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" name="Image 1">
            <a:extLst>
              <a:ext uri="{FF2B5EF4-FFF2-40B4-BE49-F238E27FC236}">
                <a16:creationId xmlns:a16="http://schemas.microsoft.com/office/drawing/2014/main" id="{C83F4FED-877B-251B-0B9E-3D859DC140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54760" y="4548358"/>
            <a:ext cx="3240279" cy="2716319"/>
          </a:xfrm>
          <a:prstGeom prst="rect">
            <a:avLst/>
          </a:prstGeom>
        </p:spPr>
      </p:pic>
      <p:sp>
        <p:nvSpPr>
          <p:cNvPr id="4" name="Titre 2">
            <a:extLst>
              <a:ext uri="{FF2B5EF4-FFF2-40B4-BE49-F238E27FC236}">
                <a16:creationId xmlns:a16="http://schemas.microsoft.com/office/drawing/2014/main" id="{C62E43E3-1C51-AAF7-BE00-03791D5D2E83}"/>
              </a:ext>
            </a:extLst>
          </p:cNvPr>
          <p:cNvSpPr txBox="1">
            <a:spLocks/>
          </p:cNvSpPr>
          <p:nvPr/>
        </p:nvSpPr>
        <p:spPr>
          <a:xfrm>
            <a:off x="620375" y="525600"/>
            <a:ext cx="4459625" cy="36855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lang="fr-FR" sz="2000" b="1" dirty="0">
                <a:solidFill>
                  <a:srgbClr val="00778C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fr-FR" sz="2000" dirty="0">
                <a:solidFill>
                  <a:srgbClr val="00778C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PRESCRIPTEUR ÉLECTRONIQUE </a:t>
            </a:r>
            <a:br>
              <a:rPr lang="fr-FR" sz="2000" dirty="0">
                <a:solidFill>
                  <a:srgbClr val="00778C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</a:br>
            <a:r>
              <a:rPr lang="fr-FR" sz="2000" dirty="0">
                <a:solidFill>
                  <a:srgbClr val="00778C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EN IMAGERIE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E0C96042-15AD-6A1C-859B-018E2D9AFCD1}"/>
              </a:ext>
            </a:extLst>
          </p:cNvPr>
          <p:cNvSpPr txBox="1"/>
          <p:nvPr/>
        </p:nvSpPr>
        <p:spPr>
          <a:xfrm>
            <a:off x="3486149" y="5669519"/>
            <a:ext cx="39009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dirty="0">
                <a:hlinkClick r:id="rId5"/>
              </a:rPr>
              <a:t>TEST - SAFIR (rtss.qc.ca)</a:t>
            </a:r>
            <a:endParaRPr lang="fr-FR" sz="1800" dirty="0"/>
          </a:p>
        </p:txBody>
      </p:sp>
    </p:spTree>
    <p:extLst>
      <p:ext uri="{BB962C8B-B14F-4D97-AF65-F5344CB8AC3E}">
        <p14:creationId xmlns:p14="http://schemas.microsoft.com/office/powerpoint/2010/main" val="13922663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8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9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6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9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NUM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6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8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6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6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7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3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Bureau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1CFD368ABEAD942B96EBB37032C799C" ma:contentTypeVersion="6" ma:contentTypeDescription="Create a new document." ma:contentTypeScope="" ma:versionID="21fd903e04a01e02c1fdffb2e0177086">
  <xsd:schema xmlns:xsd="http://www.w3.org/2001/XMLSchema" xmlns:xs="http://www.w3.org/2001/XMLSchema" xmlns:p="http://schemas.microsoft.com/office/2006/metadata/properties" xmlns:ns2="576f5ab9-9486-4081-bc79-b091970e4178" xmlns:ns3="ab10972d-f732-47cf-b8db-acc935dd4f50" targetNamespace="http://schemas.microsoft.com/office/2006/metadata/properties" ma:root="true" ma:fieldsID="486ecaa8c5d5a88a3093f4af13b3940f" ns2:_="" ns3:_="">
    <xsd:import namespace="576f5ab9-9486-4081-bc79-b091970e4178"/>
    <xsd:import namespace="ab10972d-f732-47cf-b8db-acc935dd4f5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6f5ab9-9486-4081-bc79-b091970e417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10972d-f732-47cf-b8db-acc935dd4f50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FF86659-997B-40EF-A184-F2576FBCDFDE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C197751-9490-4490-9EF1-CB25B352591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76f5ab9-9486-4081-bc79-b091970e4178"/>
    <ds:schemaRef ds:uri="ab10972d-f732-47cf-b8db-acc935dd4f5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66ABD7E-C1AE-4D9C-A4A8-0423E20FF46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645</TotalTime>
  <Words>504</Words>
  <Application>Microsoft Office PowerPoint</Application>
  <PresentationFormat>Grand écran</PresentationFormat>
  <Paragraphs>69</Paragraphs>
  <Slides>11</Slides>
  <Notes>3</Notes>
  <HiddenSlides>0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11</vt:i4>
      </vt:variant>
    </vt:vector>
  </HeadingPairs>
  <TitlesOfParts>
    <vt:vector size="12" baseType="lpstr">
      <vt:lpstr>Office Theme</vt:lpstr>
      <vt:lpstr>CRDS-i </vt:lpstr>
      <vt:lpstr>Présentation PowerPoint</vt:lpstr>
      <vt:lpstr>Outil d’aide à la décision (Medcurrent)</vt:lpstr>
      <vt:lpstr>Objectifs du projet</vt:lpstr>
      <vt:lpstr>Présentation PowerPoint</vt:lpstr>
      <vt:lpstr>Présentation PowerPoint</vt:lpstr>
      <vt:lpstr>Présentation PowerPoint</vt:lpstr>
      <vt:lpstr>Projet prescripteur en imagerie – externe (SAFIR)  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dgets événements FY2023</dc:title>
  <dc:creator>Émilyse Roy</dc:creator>
  <cp:lastModifiedBy>marie-josee.dion</cp:lastModifiedBy>
  <cp:revision>57</cp:revision>
  <dcterms:created xsi:type="dcterms:W3CDTF">2022-09-16T16:23:57Z</dcterms:created>
  <dcterms:modified xsi:type="dcterms:W3CDTF">2024-03-13T12:30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a7d8d5d-78e2-4a62-9fcd-016eb5e4c57c_Enabled">
    <vt:lpwstr>true</vt:lpwstr>
  </property>
  <property fmtid="{D5CDD505-2E9C-101B-9397-08002B2CF9AE}" pid="3" name="MSIP_Label_6a7d8d5d-78e2-4a62-9fcd-016eb5e4c57c_SetDate">
    <vt:lpwstr>2023-11-27T17:54:03Z</vt:lpwstr>
  </property>
  <property fmtid="{D5CDD505-2E9C-101B-9397-08002B2CF9AE}" pid="4" name="MSIP_Label_6a7d8d5d-78e2-4a62-9fcd-016eb5e4c57c_Method">
    <vt:lpwstr>Standard</vt:lpwstr>
  </property>
  <property fmtid="{D5CDD505-2E9C-101B-9397-08002B2CF9AE}" pid="5" name="MSIP_Label_6a7d8d5d-78e2-4a62-9fcd-016eb5e4c57c_Name">
    <vt:lpwstr>Général</vt:lpwstr>
  </property>
  <property fmtid="{D5CDD505-2E9C-101B-9397-08002B2CF9AE}" pid="6" name="MSIP_Label_6a7d8d5d-78e2-4a62-9fcd-016eb5e4c57c_SiteId">
    <vt:lpwstr>06e1fe28-5f8b-4075-bf6c-ae24be1a7992</vt:lpwstr>
  </property>
  <property fmtid="{D5CDD505-2E9C-101B-9397-08002B2CF9AE}" pid="7" name="MSIP_Label_6a7d8d5d-78e2-4a62-9fcd-016eb5e4c57c_ActionId">
    <vt:lpwstr>478f8653-cb70-43ae-9a81-3a849c3ec31b</vt:lpwstr>
  </property>
  <property fmtid="{D5CDD505-2E9C-101B-9397-08002B2CF9AE}" pid="8" name="MSIP_Label_6a7d8d5d-78e2-4a62-9fcd-016eb5e4c57c_ContentBits">
    <vt:lpwstr>0</vt:lpwstr>
  </property>
  <property fmtid="{D5CDD505-2E9C-101B-9397-08002B2CF9AE}" pid="9" name="ContentTypeId">
    <vt:lpwstr>0x01010041CFD368ABEAD942B96EBB37032C799C</vt:lpwstr>
  </property>
</Properties>
</file>